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0" r:id="rId3"/>
    <p:sldId id="258" r:id="rId4"/>
    <p:sldId id="272" r:id="rId5"/>
    <p:sldId id="257" r:id="rId6"/>
  </p:sldIdLst>
  <p:sldSz cx="12192000" cy="6858000"/>
  <p:notesSz cx="6858000" cy="9144000"/>
  <p:custDataLst>
    <p:tags r:id="rId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F9A"/>
    <a:srgbClr val="FF534F"/>
    <a:srgbClr val="CD357C"/>
    <a:srgbClr val="FF71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E9E6BD-E16F-4FAF-B932-ACF8EF89DB02}" v="392" dt="2022-04-17T15:22:08.1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0" autoAdjust="0"/>
    <p:restoredTop sz="94660"/>
  </p:normalViewPr>
  <p:slideViewPr>
    <p:cSldViewPr snapToGrid="0">
      <p:cViewPr>
        <p:scale>
          <a:sx n="80" d="100"/>
          <a:sy n="80" d="100"/>
        </p:scale>
        <p:origin x="176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rnandes Junior" userId="b8c2b798-1513-465e-8806-efbca9869d77" providerId="ADAL" clId="{08E9E6BD-E16F-4FAF-B932-ACF8EF89DB02}"/>
    <pc:docChg chg="undo custSel addSld delSld modSld replTag">
      <pc:chgData name="Hernandes Junior" userId="b8c2b798-1513-465e-8806-efbca9869d77" providerId="ADAL" clId="{08E9E6BD-E16F-4FAF-B932-ACF8EF89DB02}" dt="2022-04-17T15:22:20.859" v="2811" actId="20577"/>
      <pc:docMkLst>
        <pc:docMk/>
      </pc:docMkLst>
      <pc:sldChg chg="addSp delSp modSp mod">
        <pc:chgData name="Hernandes Junior" userId="b8c2b798-1513-465e-8806-efbca9869d77" providerId="ADAL" clId="{08E9E6BD-E16F-4FAF-B932-ACF8EF89DB02}" dt="2022-04-16T21:13:20.028" v="22" actId="20577"/>
        <pc:sldMkLst>
          <pc:docMk/>
          <pc:sldMk cId="1841191749" sldId="256"/>
        </pc:sldMkLst>
        <pc:spChg chg="mod">
          <ac:chgData name="Hernandes Junior" userId="b8c2b798-1513-465e-8806-efbca9869d77" providerId="ADAL" clId="{08E9E6BD-E16F-4FAF-B932-ACF8EF89DB02}" dt="2022-04-16T21:13:20.028" v="22" actId="20577"/>
          <ac:spMkLst>
            <pc:docMk/>
            <pc:sldMk cId="1841191749" sldId="256"/>
            <ac:spMk id="6" creationId="{65DACE93-691F-40EA-8E88-1B9FBAE9AE4E}"/>
          </ac:spMkLst>
        </pc:spChg>
        <pc:picChg chg="add mod ord">
          <ac:chgData name="Hernandes Junior" userId="b8c2b798-1513-465e-8806-efbca9869d77" providerId="ADAL" clId="{08E9E6BD-E16F-4FAF-B932-ACF8EF89DB02}" dt="2022-04-16T21:13:10.727" v="13" actId="167"/>
          <ac:picMkLst>
            <pc:docMk/>
            <pc:sldMk cId="1841191749" sldId="256"/>
            <ac:picMk id="3" creationId="{C96D2C0A-5DA0-43DD-B2CB-135FC28A07C1}"/>
          </ac:picMkLst>
        </pc:picChg>
        <pc:picChg chg="del">
          <ac:chgData name="Hernandes Junior" userId="b8c2b798-1513-465e-8806-efbca9869d77" providerId="ADAL" clId="{08E9E6BD-E16F-4FAF-B932-ACF8EF89DB02}" dt="2022-04-16T21:12:54.516" v="9" actId="478"/>
          <ac:picMkLst>
            <pc:docMk/>
            <pc:sldMk cId="1841191749" sldId="256"/>
            <ac:picMk id="10" creationId="{70CD7037-F98B-48C8-A4F6-60A0432CB5BA}"/>
          </ac:picMkLst>
        </pc:picChg>
      </pc:sldChg>
      <pc:sldChg chg="addSp delSp modSp mod">
        <pc:chgData name="Hernandes Junior" userId="b8c2b798-1513-465e-8806-efbca9869d77" providerId="ADAL" clId="{08E9E6BD-E16F-4FAF-B932-ACF8EF89DB02}" dt="2022-04-16T21:13:42.825" v="25" actId="167"/>
        <pc:sldMkLst>
          <pc:docMk/>
          <pc:sldMk cId="176970338" sldId="257"/>
        </pc:sldMkLst>
        <pc:picChg chg="add mod ord">
          <ac:chgData name="Hernandes Junior" userId="b8c2b798-1513-465e-8806-efbca9869d77" providerId="ADAL" clId="{08E9E6BD-E16F-4FAF-B932-ACF8EF89DB02}" dt="2022-04-16T21:13:42.825" v="25" actId="167"/>
          <ac:picMkLst>
            <pc:docMk/>
            <pc:sldMk cId="176970338" sldId="257"/>
            <ac:picMk id="9" creationId="{DF21316D-45A8-406D-8F22-38C0B5599E78}"/>
          </ac:picMkLst>
        </pc:picChg>
        <pc:picChg chg="del">
          <ac:chgData name="Hernandes Junior" userId="b8c2b798-1513-465e-8806-efbca9869d77" providerId="ADAL" clId="{08E9E6BD-E16F-4FAF-B932-ACF8EF89DB02}" dt="2022-04-16T21:13:39.180" v="23" actId="478"/>
          <ac:picMkLst>
            <pc:docMk/>
            <pc:sldMk cId="176970338" sldId="257"/>
            <ac:picMk id="10" creationId="{70CD7037-F98B-48C8-A4F6-60A0432CB5BA}"/>
          </ac:picMkLst>
        </pc:picChg>
      </pc:sldChg>
      <pc:sldChg chg="addSp delSp modSp mod">
        <pc:chgData name="Hernandes Junior" userId="b8c2b798-1513-465e-8806-efbca9869d77" providerId="ADAL" clId="{08E9E6BD-E16F-4FAF-B932-ACF8EF89DB02}" dt="2022-04-17T15:22:08.034" v="2809"/>
        <pc:sldMkLst>
          <pc:docMk/>
          <pc:sldMk cId="1982365672" sldId="258"/>
        </pc:sldMkLst>
        <pc:spChg chg="mod">
          <ac:chgData name="Hernandes Junior" userId="b8c2b798-1513-465e-8806-efbca9869d77" providerId="ADAL" clId="{08E9E6BD-E16F-4FAF-B932-ACF8EF89DB02}" dt="2022-04-17T01:17:28.344" v="1331" actId="6549"/>
          <ac:spMkLst>
            <pc:docMk/>
            <pc:sldMk cId="1982365672" sldId="258"/>
            <ac:spMk id="8" creationId="{F3AF07D5-1082-4DCE-9E8A-6BBACD49CD56}"/>
          </ac:spMkLst>
        </pc:spChg>
        <pc:spChg chg="mod">
          <ac:chgData name="Hernandes Junior" userId="b8c2b798-1513-465e-8806-efbca9869d77" providerId="ADAL" clId="{08E9E6BD-E16F-4FAF-B932-ACF8EF89DB02}" dt="2022-04-17T00:47:01.513" v="194" actId="207"/>
          <ac:spMkLst>
            <pc:docMk/>
            <pc:sldMk cId="1982365672" sldId="258"/>
            <ac:spMk id="11" creationId="{E1B3B122-6B11-4672-88A5-38938F21DD28}"/>
          </ac:spMkLst>
        </pc:spChg>
        <pc:spChg chg="mod">
          <ac:chgData name="Hernandes Junior" userId="b8c2b798-1513-465e-8806-efbca9869d77" providerId="ADAL" clId="{08E9E6BD-E16F-4FAF-B932-ACF8EF89DB02}" dt="2022-04-17T00:47:15.745" v="196" actId="207"/>
          <ac:spMkLst>
            <pc:docMk/>
            <pc:sldMk cId="1982365672" sldId="258"/>
            <ac:spMk id="12" creationId="{6FDB8E6A-0EBC-40C7-9CB3-9AFAEDF152F5}"/>
          </ac:spMkLst>
        </pc:spChg>
        <pc:spChg chg="mod">
          <ac:chgData name="Hernandes Junior" userId="b8c2b798-1513-465e-8806-efbca9869d77" providerId="ADAL" clId="{08E9E6BD-E16F-4FAF-B932-ACF8EF89DB02}" dt="2022-04-17T00:47:24.771" v="203" actId="20577"/>
          <ac:spMkLst>
            <pc:docMk/>
            <pc:sldMk cId="1982365672" sldId="258"/>
            <ac:spMk id="15" creationId="{ED9DB707-840E-4DE1-9A6E-D6F47C32A80C}"/>
          </ac:spMkLst>
        </pc:spChg>
        <pc:spChg chg="del">
          <ac:chgData name="Hernandes Junior" userId="b8c2b798-1513-465e-8806-efbca9869d77" providerId="ADAL" clId="{08E9E6BD-E16F-4FAF-B932-ACF8EF89DB02}" dt="2022-04-17T00:54:15.759" v="400" actId="478"/>
          <ac:spMkLst>
            <pc:docMk/>
            <pc:sldMk cId="1982365672" sldId="258"/>
            <ac:spMk id="25" creationId="{5EFEFCE0-0863-414C-8853-19B6993F33BC}"/>
          </ac:spMkLst>
        </pc:spChg>
        <pc:spChg chg="del">
          <ac:chgData name="Hernandes Junior" userId="b8c2b798-1513-465e-8806-efbca9869d77" providerId="ADAL" clId="{08E9E6BD-E16F-4FAF-B932-ACF8EF89DB02}" dt="2022-04-17T00:47:51.658" v="204" actId="478"/>
          <ac:spMkLst>
            <pc:docMk/>
            <pc:sldMk cId="1982365672" sldId="258"/>
            <ac:spMk id="26" creationId="{D54487CF-AEF7-4FE1-AA8B-9BFAD40632BC}"/>
          </ac:spMkLst>
        </pc:spChg>
        <pc:spChg chg="del">
          <ac:chgData name="Hernandes Junior" userId="b8c2b798-1513-465e-8806-efbca9869d77" providerId="ADAL" clId="{08E9E6BD-E16F-4FAF-B932-ACF8EF89DB02}" dt="2022-04-17T01:13:12.099" v="1218" actId="478"/>
          <ac:spMkLst>
            <pc:docMk/>
            <pc:sldMk cId="1982365672" sldId="258"/>
            <ac:spMk id="27" creationId="{40E15B4F-C11C-46C5-8AE7-69034298295E}"/>
          </ac:spMkLst>
        </pc:spChg>
        <pc:spChg chg="del">
          <ac:chgData name="Hernandes Junior" userId="b8c2b798-1513-465e-8806-efbca9869d77" providerId="ADAL" clId="{08E9E6BD-E16F-4FAF-B932-ACF8EF89DB02}" dt="2022-04-17T00:42:28.904" v="27" actId="478"/>
          <ac:spMkLst>
            <pc:docMk/>
            <pc:sldMk cId="1982365672" sldId="258"/>
            <ac:spMk id="28" creationId="{1D37082A-BCD6-451A-AEF9-B4CDB56EC9D6}"/>
          </ac:spMkLst>
        </pc:spChg>
        <pc:spChg chg="add mod replST delST">
          <ac:chgData name="Hernandes Junior" userId="b8c2b798-1513-465e-8806-efbca9869d77" providerId="ADAL" clId="{08E9E6BD-E16F-4FAF-B932-ACF8EF89DB02}" dt="2022-04-17T15:16:33.341" v="2707"/>
          <ac:spMkLst>
            <pc:docMk/>
            <pc:sldMk cId="1982365672" sldId="258"/>
            <ac:spMk id="29" creationId="{8A193466-4B06-43F7-8FE0-39E7DE2F2F19}"/>
          </ac:spMkLst>
        </pc:spChg>
        <pc:spChg chg="add del">
          <ac:chgData name="Hernandes Junior" userId="b8c2b798-1513-465e-8806-efbca9869d77" providerId="ADAL" clId="{08E9E6BD-E16F-4FAF-B932-ACF8EF89DB02}" dt="2022-04-17T01:01:18.463" v="605" actId="478"/>
          <ac:spMkLst>
            <pc:docMk/>
            <pc:sldMk cId="1982365672" sldId="258"/>
            <ac:spMk id="30" creationId="{15F25149-7E6A-4A35-9B5E-717E33D8DC6B}"/>
          </ac:spMkLst>
        </pc:spChg>
        <pc:spChg chg="add mod replST delST">
          <ac:chgData name="Hernandes Junior" userId="b8c2b798-1513-465e-8806-efbca9869d77" providerId="ADAL" clId="{08E9E6BD-E16F-4FAF-B932-ACF8EF89DB02}" dt="2022-04-17T15:18:51.881" v="2747"/>
          <ac:spMkLst>
            <pc:docMk/>
            <pc:sldMk cId="1982365672" sldId="258"/>
            <ac:spMk id="31" creationId="{7E51D283-AEEC-4349-AA01-F026C93CE622}"/>
          </ac:spMkLst>
        </pc:spChg>
        <pc:spChg chg="del">
          <ac:chgData name="Hernandes Junior" userId="b8c2b798-1513-465e-8806-efbca9869d77" providerId="ADAL" clId="{08E9E6BD-E16F-4FAF-B932-ACF8EF89DB02}" dt="2022-04-17T01:01:19.672" v="606" actId="478"/>
          <ac:spMkLst>
            <pc:docMk/>
            <pc:sldMk cId="1982365672" sldId="258"/>
            <ac:spMk id="33" creationId="{942D8791-50B3-4465-A0D0-FB6EB1A6C92A}"/>
          </ac:spMkLst>
        </pc:spChg>
        <pc:spChg chg="add mod replST delST">
          <ac:chgData name="Hernandes Junior" userId="b8c2b798-1513-465e-8806-efbca9869d77" providerId="ADAL" clId="{08E9E6BD-E16F-4FAF-B932-ACF8EF89DB02}" dt="2022-04-17T15:20:38.907" v="2767"/>
          <ac:spMkLst>
            <pc:docMk/>
            <pc:sldMk cId="1982365672" sldId="258"/>
            <ac:spMk id="34" creationId="{3E260BBB-67E7-438A-A4AE-81FE0FFB1584}"/>
          </ac:spMkLst>
        </pc:spChg>
        <pc:spChg chg="del">
          <ac:chgData name="Hernandes Junior" userId="b8c2b798-1513-465e-8806-efbca9869d77" providerId="ADAL" clId="{08E9E6BD-E16F-4FAF-B932-ACF8EF89DB02}" dt="2022-04-17T00:42:32.630" v="28" actId="478"/>
          <ac:spMkLst>
            <pc:docMk/>
            <pc:sldMk cId="1982365672" sldId="258"/>
            <ac:spMk id="35" creationId="{A1A60B9A-8293-4C65-A36E-6970F2999494}"/>
          </ac:spMkLst>
        </pc:spChg>
        <pc:spChg chg="del">
          <ac:chgData name="Hernandes Junior" userId="b8c2b798-1513-465e-8806-efbca9869d77" providerId="ADAL" clId="{08E9E6BD-E16F-4FAF-B932-ACF8EF89DB02}" dt="2022-04-17T00:47:53.131" v="205" actId="478"/>
          <ac:spMkLst>
            <pc:docMk/>
            <pc:sldMk cId="1982365672" sldId="258"/>
            <ac:spMk id="36" creationId="{6A68D825-6E47-4BC7-B717-7BD11DEB6B3E}"/>
          </ac:spMkLst>
        </pc:spChg>
        <pc:spChg chg="add mod replST delST">
          <ac:chgData name="Hernandes Junior" userId="b8c2b798-1513-465e-8806-efbca9869d77" providerId="ADAL" clId="{08E9E6BD-E16F-4FAF-B932-ACF8EF89DB02}" dt="2022-04-17T15:21:46.739" v="2788"/>
          <ac:spMkLst>
            <pc:docMk/>
            <pc:sldMk cId="1982365672" sldId="258"/>
            <ac:spMk id="37" creationId="{1DC735EB-AA87-4D06-8411-9B8ED5569478}"/>
          </ac:spMkLst>
        </pc:spChg>
        <pc:spChg chg="add mod replST delST">
          <ac:chgData name="Hernandes Junior" userId="b8c2b798-1513-465e-8806-efbca9869d77" providerId="ADAL" clId="{08E9E6BD-E16F-4FAF-B932-ACF8EF89DB02}" dt="2022-04-17T01:13:01.822" v="1217" actId="1036"/>
          <ac:spMkLst>
            <pc:docMk/>
            <pc:sldMk cId="1982365672" sldId="258"/>
            <ac:spMk id="38" creationId="{4C7FCE40-E951-4E0E-8A19-EFFE3C204EFC}"/>
          </ac:spMkLst>
        </pc:spChg>
        <pc:spChg chg="add mod replST delST">
          <ac:chgData name="Hernandes Junior" userId="b8c2b798-1513-465e-8806-efbca9869d77" providerId="ADAL" clId="{08E9E6BD-E16F-4FAF-B932-ACF8EF89DB02}" dt="2022-04-17T15:22:08.034" v="2809"/>
          <ac:spMkLst>
            <pc:docMk/>
            <pc:sldMk cId="1982365672" sldId="258"/>
            <ac:spMk id="40" creationId="{0B37726B-9B5F-4EB6-9FB5-84385A02AC9D}"/>
          </ac:spMkLst>
        </pc:spChg>
        <pc:spChg chg="add mod">
          <ac:chgData name="Hernandes Junior" userId="b8c2b798-1513-465e-8806-efbca9869d77" providerId="ADAL" clId="{08E9E6BD-E16F-4FAF-B932-ACF8EF89DB02}" dt="2022-04-17T01:12:45.387" v="1170" actId="554"/>
          <ac:spMkLst>
            <pc:docMk/>
            <pc:sldMk cId="1982365672" sldId="258"/>
            <ac:spMk id="41" creationId="{EE18D1A7-8A1F-4B36-A55C-830180844F30}"/>
          </ac:spMkLst>
        </pc:spChg>
        <pc:spChg chg="del">
          <ac:chgData name="Hernandes Junior" userId="b8c2b798-1513-465e-8806-efbca9869d77" providerId="ADAL" clId="{08E9E6BD-E16F-4FAF-B932-ACF8EF89DB02}" dt="2022-04-17T00:54:29.021" v="403" actId="478"/>
          <ac:spMkLst>
            <pc:docMk/>
            <pc:sldMk cId="1982365672" sldId="258"/>
            <ac:spMk id="42" creationId="{74F29026-BCB4-4EFC-9F2D-B41D98806B22}"/>
          </ac:spMkLst>
        </pc:spChg>
        <pc:spChg chg="del">
          <ac:chgData name="Hernandes Junior" userId="b8c2b798-1513-465e-8806-efbca9869d77" providerId="ADAL" clId="{08E9E6BD-E16F-4FAF-B932-ACF8EF89DB02}" dt="2022-04-17T00:54:19.351" v="401" actId="478"/>
          <ac:spMkLst>
            <pc:docMk/>
            <pc:sldMk cId="1982365672" sldId="258"/>
            <ac:spMk id="43" creationId="{5C680B46-84BB-48A5-9841-9426C12819D0}"/>
          </ac:spMkLst>
        </pc:spChg>
        <pc:spChg chg="del">
          <ac:chgData name="Hernandes Junior" userId="b8c2b798-1513-465e-8806-efbca9869d77" providerId="ADAL" clId="{08E9E6BD-E16F-4FAF-B932-ACF8EF89DB02}" dt="2022-04-17T00:54:22.867" v="402" actId="478"/>
          <ac:spMkLst>
            <pc:docMk/>
            <pc:sldMk cId="1982365672" sldId="258"/>
            <ac:spMk id="44" creationId="{7B457344-B7B0-43A7-945F-BE10E2B4118F}"/>
          </ac:spMkLst>
        </pc:spChg>
        <pc:spChg chg="add mod">
          <ac:chgData name="Hernandes Junior" userId="b8c2b798-1513-465e-8806-efbca9869d77" providerId="ADAL" clId="{08E9E6BD-E16F-4FAF-B932-ACF8EF89DB02}" dt="2022-04-17T01:12:45.387" v="1170" actId="554"/>
          <ac:spMkLst>
            <pc:docMk/>
            <pc:sldMk cId="1982365672" sldId="258"/>
            <ac:spMk id="45" creationId="{C2BEA690-B422-4589-A7A5-071BE0F10794}"/>
          </ac:spMkLst>
        </pc:spChg>
        <pc:spChg chg="add mod">
          <ac:chgData name="Hernandes Junior" userId="b8c2b798-1513-465e-8806-efbca9869d77" providerId="ADAL" clId="{08E9E6BD-E16F-4FAF-B932-ACF8EF89DB02}" dt="2022-04-17T01:12:45.387" v="1170" actId="554"/>
          <ac:spMkLst>
            <pc:docMk/>
            <pc:sldMk cId="1982365672" sldId="258"/>
            <ac:spMk id="46" creationId="{60795208-9DFB-481D-AD19-02AA3DAAF542}"/>
          </ac:spMkLst>
        </pc:spChg>
        <pc:spChg chg="add mod">
          <ac:chgData name="Hernandes Junior" userId="b8c2b798-1513-465e-8806-efbca9869d77" providerId="ADAL" clId="{08E9E6BD-E16F-4FAF-B932-ACF8EF89DB02}" dt="2022-04-17T01:12:32.098" v="1169" actId="554"/>
          <ac:spMkLst>
            <pc:docMk/>
            <pc:sldMk cId="1982365672" sldId="258"/>
            <ac:spMk id="47" creationId="{A90BDE3F-0827-40D6-893D-3B5699CBA27A}"/>
          </ac:spMkLst>
        </pc:spChg>
        <pc:spChg chg="add mod">
          <ac:chgData name="Hernandes Junior" userId="b8c2b798-1513-465e-8806-efbca9869d77" providerId="ADAL" clId="{08E9E6BD-E16F-4FAF-B932-ACF8EF89DB02}" dt="2022-04-17T01:12:32.098" v="1169" actId="554"/>
          <ac:spMkLst>
            <pc:docMk/>
            <pc:sldMk cId="1982365672" sldId="258"/>
            <ac:spMk id="48" creationId="{715D9AC5-AFC0-47E6-AC8D-625A52DCFA10}"/>
          </ac:spMkLst>
        </pc:spChg>
        <pc:spChg chg="del">
          <ac:chgData name="Hernandes Junior" userId="b8c2b798-1513-465e-8806-efbca9869d77" providerId="ADAL" clId="{08E9E6BD-E16F-4FAF-B932-ACF8EF89DB02}" dt="2022-04-17T01:01:16.984" v="604" actId="478"/>
          <ac:spMkLst>
            <pc:docMk/>
            <pc:sldMk cId="1982365672" sldId="258"/>
            <ac:spMk id="49" creationId="{D0E4EAE4-710A-469F-BBE2-69817E68D36D}"/>
          </ac:spMkLst>
        </pc:spChg>
        <pc:spChg chg="add mod">
          <ac:chgData name="Hernandes Junior" userId="b8c2b798-1513-465e-8806-efbca9869d77" providerId="ADAL" clId="{08E9E6BD-E16F-4FAF-B932-ACF8EF89DB02}" dt="2022-04-17T01:12:32.098" v="1169" actId="554"/>
          <ac:spMkLst>
            <pc:docMk/>
            <pc:sldMk cId="1982365672" sldId="258"/>
            <ac:spMk id="50" creationId="{27904A42-4C86-4B24-BCEE-84E8472EA7AB}"/>
          </ac:spMkLst>
        </pc:spChg>
        <pc:spChg chg="add del mod">
          <ac:chgData name="Hernandes Junior" userId="b8c2b798-1513-465e-8806-efbca9869d77" providerId="ADAL" clId="{08E9E6BD-E16F-4FAF-B932-ACF8EF89DB02}" dt="2022-04-17T01:16:39.781" v="1266" actId="478"/>
          <ac:spMkLst>
            <pc:docMk/>
            <pc:sldMk cId="1982365672" sldId="258"/>
            <ac:spMk id="51" creationId="{410D3851-9360-46F6-93B1-A92C6D700863}"/>
          </ac:spMkLst>
        </pc:spChg>
        <pc:spChg chg="add mod">
          <ac:chgData name="Hernandes Junior" userId="b8c2b798-1513-465e-8806-efbca9869d77" providerId="ADAL" clId="{08E9E6BD-E16F-4FAF-B932-ACF8EF89DB02}" dt="2022-04-17T01:18:00.324" v="1337" actId="20577"/>
          <ac:spMkLst>
            <pc:docMk/>
            <pc:sldMk cId="1982365672" sldId="258"/>
            <ac:spMk id="54" creationId="{361D5A03-641C-44D1-A130-91EF89F095C7}"/>
          </ac:spMkLst>
        </pc:spChg>
        <pc:spChg chg="add mod">
          <ac:chgData name="Hernandes Junior" userId="b8c2b798-1513-465e-8806-efbca9869d77" providerId="ADAL" clId="{08E9E6BD-E16F-4FAF-B932-ACF8EF89DB02}" dt="2022-04-17T01:20:27.696" v="1566" actId="14100"/>
          <ac:spMkLst>
            <pc:docMk/>
            <pc:sldMk cId="1982365672" sldId="258"/>
            <ac:spMk id="55" creationId="{9C48570B-CE94-416B-A44C-0FB9C88D1D89}"/>
          </ac:spMkLst>
        </pc:spChg>
        <pc:grpChg chg="mod">
          <ac:chgData name="Hernandes Junior" userId="b8c2b798-1513-465e-8806-efbca9869d77" providerId="ADAL" clId="{08E9E6BD-E16F-4FAF-B932-ACF8EF89DB02}" dt="2022-04-17T00:47:01.513" v="194" actId="207"/>
          <ac:grpSpMkLst>
            <pc:docMk/>
            <pc:sldMk cId="1982365672" sldId="258"/>
            <ac:grpSpMk id="9" creationId="{811AC691-E53C-4E09-89C8-AF2581A45245}"/>
          </ac:grpSpMkLst>
        </pc:grpChg>
        <pc:cxnChg chg="mod">
          <ac:chgData name="Hernandes Junior" userId="b8c2b798-1513-465e-8806-efbca9869d77" providerId="ADAL" clId="{08E9E6BD-E16F-4FAF-B932-ACF8EF89DB02}" dt="2022-04-17T00:47:07.940" v="195" actId="208"/>
          <ac:cxnSpMkLst>
            <pc:docMk/>
            <pc:sldMk cId="1982365672" sldId="258"/>
            <ac:cxnSpMk id="5" creationId="{5E976389-FCA7-4CDA-A2B9-159BF1790807}"/>
          </ac:cxnSpMkLst>
        </pc:cxnChg>
        <pc:cxnChg chg="del">
          <ac:chgData name="Hernandes Junior" userId="b8c2b798-1513-465e-8806-efbca9869d77" providerId="ADAL" clId="{08E9E6BD-E16F-4FAF-B932-ACF8EF89DB02}" dt="2022-04-17T01:13:12.883" v="1219" actId="478"/>
          <ac:cxnSpMkLst>
            <pc:docMk/>
            <pc:sldMk cId="1982365672" sldId="258"/>
            <ac:cxnSpMk id="18" creationId="{9D91497F-1323-472D-9E18-63C42E570D4C}"/>
          </ac:cxnSpMkLst>
        </pc:cxnChg>
        <pc:cxnChg chg="del">
          <ac:chgData name="Hernandes Junior" userId="b8c2b798-1513-465e-8806-efbca9869d77" providerId="ADAL" clId="{08E9E6BD-E16F-4FAF-B932-ACF8EF89DB02}" dt="2022-04-17T01:01:20.247" v="607" actId="478"/>
          <ac:cxnSpMkLst>
            <pc:docMk/>
            <pc:sldMk cId="1982365672" sldId="258"/>
            <ac:cxnSpMk id="32" creationId="{67866D65-16F1-4483-87C5-AA442439330F}"/>
          </ac:cxnSpMkLst>
        </pc:cxnChg>
        <pc:cxnChg chg="del">
          <ac:chgData name="Hernandes Junior" userId="b8c2b798-1513-465e-8806-efbca9869d77" providerId="ADAL" clId="{08E9E6BD-E16F-4FAF-B932-ACF8EF89DB02}" dt="2022-04-17T00:54:38.947" v="404" actId="478"/>
          <ac:cxnSpMkLst>
            <pc:docMk/>
            <pc:sldMk cId="1982365672" sldId="258"/>
            <ac:cxnSpMk id="39" creationId="{7D3F8252-470C-4CC1-BD04-B0C62D721A21}"/>
          </ac:cxnSpMkLst>
        </pc:cxnChg>
        <pc:cxnChg chg="add mod">
          <ac:chgData name="Hernandes Junior" userId="b8c2b798-1513-465e-8806-efbca9869d77" providerId="ADAL" clId="{08E9E6BD-E16F-4FAF-B932-ACF8EF89DB02}" dt="2022-04-17T01:17:05.345" v="1291" actId="1037"/>
          <ac:cxnSpMkLst>
            <pc:docMk/>
            <pc:sldMk cId="1982365672" sldId="258"/>
            <ac:cxnSpMk id="52" creationId="{163CEFA3-EF01-4575-8315-32B2E9B70E10}"/>
          </ac:cxnSpMkLst>
        </pc:cxnChg>
        <pc:cxnChg chg="add mod">
          <ac:chgData name="Hernandes Junior" userId="b8c2b798-1513-465e-8806-efbca9869d77" providerId="ADAL" clId="{08E9E6BD-E16F-4FAF-B932-ACF8EF89DB02}" dt="2022-04-17T01:17:05.345" v="1291" actId="1037"/>
          <ac:cxnSpMkLst>
            <pc:docMk/>
            <pc:sldMk cId="1982365672" sldId="258"/>
            <ac:cxnSpMk id="53" creationId="{0638B664-453A-4692-8FB0-24A3CDD63B1D}"/>
          </ac:cxnSpMkLst>
        </pc:cxnChg>
      </pc:sldChg>
      <pc:sldChg chg="del">
        <pc:chgData name="Hernandes Junior" userId="b8c2b798-1513-465e-8806-efbca9869d77" providerId="ADAL" clId="{08E9E6BD-E16F-4FAF-B932-ACF8EF89DB02}" dt="2022-04-16T21:09:33.483" v="0" actId="47"/>
        <pc:sldMkLst>
          <pc:docMk/>
          <pc:sldMk cId="3636008935" sldId="259"/>
        </pc:sldMkLst>
      </pc:sldChg>
      <pc:sldChg chg="delSp modSp mod">
        <pc:chgData name="Hernandes Junior" userId="b8c2b798-1513-465e-8806-efbca9869d77" providerId="ADAL" clId="{08E9E6BD-E16F-4FAF-B932-ACF8EF89DB02}" dt="2022-04-17T15:22:20.859" v="2811" actId="20577"/>
        <pc:sldMkLst>
          <pc:docMk/>
          <pc:sldMk cId="277781375" sldId="260"/>
        </pc:sldMkLst>
        <pc:spChg chg="del">
          <ac:chgData name="Hernandes Junior" userId="b8c2b798-1513-465e-8806-efbca9869d77" providerId="ADAL" clId="{08E9E6BD-E16F-4FAF-B932-ACF8EF89DB02}" dt="2022-04-17T01:30:36.837" v="2688" actId="478"/>
          <ac:spMkLst>
            <pc:docMk/>
            <pc:sldMk cId="277781375" sldId="260"/>
            <ac:spMk id="2" creationId="{8FF20FD4-9C02-4833-8C49-06CB1BC67B9D}"/>
          </ac:spMkLst>
        </pc:spChg>
        <pc:spChg chg="mod">
          <ac:chgData name="Hernandes Junior" userId="b8c2b798-1513-465e-8806-efbca9869d77" providerId="ADAL" clId="{08E9E6BD-E16F-4FAF-B932-ACF8EF89DB02}" dt="2022-04-17T15:22:20.859" v="2811" actId="20577"/>
          <ac:spMkLst>
            <pc:docMk/>
            <pc:sldMk cId="277781375" sldId="260"/>
            <ac:spMk id="8" creationId="{F3AF07D5-1082-4DCE-9E8A-6BBACD49CD56}"/>
          </ac:spMkLst>
        </pc:spChg>
        <pc:spChg chg="mod">
          <ac:chgData name="Hernandes Junior" userId="b8c2b798-1513-465e-8806-efbca9869d77" providerId="ADAL" clId="{08E9E6BD-E16F-4FAF-B932-ACF8EF89DB02}" dt="2022-04-17T01:30:32.013" v="2687" actId="20577"/>
          <ac:spMkLst>
            <pc:docMk/>
            <pc:sldMk cId="277781375" sldId="260"/>
            <ac:spMk id="49" creationId="{D0E4EAE4-710A-469F-BBE2-69817E68D36D}"/>
          </ac:spMkLst>
        </pc:spChg>
        <pc:cxnChg chg="mod">
          <ac:chgData name="Hernandes Junior" userId="b8c2b798-1513-465e-8806-efbca9869d77" providerId="ADAL" clId="{08E9E6BD-E16F-4FAF-B932-ACF8EF89DB02}" dt="2022-04-16T21:14:59.430" v="26" actId="208"/>
          <ac:cxnSpMkLst>
            <pc:docMk/>
            <pc:sldMk cId="277781375" sldId="260"/>
            <ac:cxnSpMk id="5" creationId="{5E976389-FCA7-4CDA-A2B9-159BF1790807}"/>
          </ac:cxnSpMkLst>
        </pc:cxnChg>
      </pc:sldChg>
      <pc:sldChg chg="del">
        <pc:chgData name="Hernandes Junior" userId="b8c2b798-1513-465e-8806-efbca9869d77" providerId="ADAL" clId="{08E9E6BD-E16F-4FAF-B932-ACF8EF89DB02}" dt="2022-04-17T01:29:10.114" v="2512" actId="47"/>
        <pc:sldMkLst>
          <pc:docMk/>
          <pc:sldMk cId="1257851228" sldId="261"/>
        </pc:sldMkLst>
      </pc:sldChg>
      <pc:sldChg chg="del">
        <pc:chgData name="Hernandes Junior" userId="b8c2b798-1513-465e-8806-efbca9869d77" providerId="ADAL" clId="{08E9E6BD-E16F-4FAF-B932-ACF8EF89DB02}" dt="2022-04-16T21:09:33.957" v="2" actId="47"/>
        <pc:sldMkLst>
          <pc:docMk/>
          <pc:sldMk cId="3367692203" sldId="262"/>
        </pc:sldMkLst>
      </pc:sldChg>
      <pc:sldChg chg="del">
        <pc:chgData name="Hernandes Junior" userId="b8c2b798-1513-465e-8806-efbca9869d77" providerId="ADAL" clId="{08E9E6BD-E16F-4FAF-B932-ACF8EF89DB02}" dt="2022-04-16T21:09:33.667" v="1" actId="47"/>
        <pc:sldMkLst>
          <pc:docMk/>
          <pc:sldMk cId="264245627" sldId="263"/>
        </pc:sldMkLst>
      </pc:sldChg>
      <pc:sldChg chg="del">
        <pc:chgData name="Hernandes Junior" userId="b8c2b798-1513-465e-8806-efbca9869d77" providerId="ADAL" clId="{08E9E6BD-E16F-4FAF-B932-ACF8EF89DB02}" dt="2022-04-17T01:20:57.965" v="1568" actId="47"/>
        <pc:sldMkLst>
          <pc:docMk/>
          <pc:sldMk cId="3959309629" sldId="264"/>
        </pc:sldMkLst>
      </pc:sldChg>
      <pc:sldChg chg="del">
        <pc:chgData name="Hernandes Junior" userId="b8c2b798-1513-465e-8806-efbca9869d77" providerId="ADAL" clId="{08E9E6BD-E16F-4FAF-B932-ACF8EF89DB02}" dt="2022-04-17T01:20:59.435" v="1569" actId="47"/>
        <pc:sldMkLst>
          <pc:docMk/>
          <pc:sldMk cId="2342383221" sldId="265"/>
        </pc:sldMkLst>
      </pc:sldChg>
      <pc:sldChg chg="add del">
        <pc:chgData name="Hernandes Junior" userId="b8c2b798-1513-465e-8806-efbca9869d77" providerId="ADAL" clId="{08E9E6BD-E16F-4FAF-B932-ACF8EF89DB02}" dt="2022-04-17T01:20:56.166" v="1567" actId="47"/>
        <pc:sldMkLst>
          <pc:docMk/>
          <pc:sldMk cId="3504001944" sldId="266"/>
        </pc:sldMkLst>
      </pc:sldChg>
      <pc:sldChg chg="del">
        <pc:chgData name="Hernandes Junior" userId="b8c2b798-1513-465e-8806-efbca9869d77" providerId="ADAL" clId="{08E9E6BD-E16F-4FAF-B932-ACF8EF89DB02}" dt="2022-04-16T21:09:39.005" v="5" actId="47"/>
        <pc:sldMkLst>
          <pc:docMk/>
          <pc:sldMk cId="3739474229" sldId="267"/>
        </pc:sldMkLst>
      </pc:sldChg>
      <pc:sldChg chg="del">
        <pc:chgData name="Hernandes Junior" userId="b8c2b798-1513-465e-8806-efbca9869d77" providerId="ADAL" clId="{08E9E6BD-E16F-4FAF-B932-ACF8EF89DB02}" dt="2022-04-16T21:09:38.515" v="4" actId="47"/>
        <pc:sldMkLst>
          <pc:docMk/>
          <pc:sldMk cId="340874759" sldId="268"/>
        </pc:sldMkLst>
      </pc:sldChg>
      <pc:sldChg chg="del">
        <pc:chgData name="Hernandes Junior" userId="b8c2b798-1513-465e-8806-efbca9869d77" providerId="ADAL" clId="{08E9E6BD-E16F-4FAF-B932-ACF8EF89DB02}" dt="2022-04-16T21:09:34.478" v="3" actId="47"/>
        <pc:sldMkLst>
          <pc:docMk/>
          <pc:sldMk cId="1369559351" sldId="269"/>
        </pc:sldMkLst>
      </pc:sldChg>
      <pc:sldChg chg="del">
        <pc:chgData name="Hernandes Junior" userId="b8c2b798-1513-465e-8806-efbca9869d77" providerId="ADAL" clId="{08E9E6BD-E16F-4FAF-B932-ACF8EF89DB02}" dt="2022-04-16T21:09:40.617" v="6" actId="47"/>
        <pc:sldMkLst>
          <pc:docMk/>
          <pc:sldMk cId="18126035" sldId="270"/>
        </pc:sldMkLst>
      </pc:sldChg>
      <pc:sldChg chg="del">
        <pc:chgData name="Hernandes Junior" userId="b8c2b798-1513-465e-8806-efbca9869d77" providerId="ADAL" clId="{08E9E6BD-E16F-4FAF-B932-ACF8EF89DB02}" dt="2022-04-17T01:21:00.847" v="1570" actId="47"/>
        <pc:sldMkLst>
          <pc:docMk/>
          <pc:sldMk cId="4177822065" sldId="271"/>
        </pc:sldMkLst>
      </pc:sldChg>
      <pc:sldChg chg="addSp delSp modSp mod">
        <pc:chgData name="Hernandes Junior" userId="b8c2b798-1513-465e-8806-efbca9869d77" providerId="ADAL" clId="{08E9E6BD-E16F-4FAF-B932-ACF8EF89DB02}" dt="2022-04-17T01:29:02.247" v="2510" actId="12"/>
        <pc:sldMkLst>
          <pc:docMk/>
          <pc:sldMk cId="474684686" sldId="272"/>
        </pc:sldMkLst>
        <pc:spChg chg="mod">
          <ac:chgData name="Hernandes Junior" userId="b8c2b798-1513-465e-8806-efbca9869d77" providerId="ADAL" clId="{08E9E6BD-E16F-4FAF-B932-ACF8EF89DB02}" dt="2022-04-17T01:29:02.247" v="2510" actId="12"/>
          <ac:spMkLst>
            <pc:docMk/>
            <pc:sldMk cId="474684686" sldId="272"/>
            <ac:spMk id="49" creationId="{D0E4EAE4-710A-469F-BBE2-69817E68D36D}"/>
          </ac:spMkLst>
        </pc:spChg>
        <pc:cxnChg chg="del">
          <ac:chgData name="Hernandes Junior" userId="b8c2b798-1513-465e-8806-efbca9869d77" providerId="ADAL" clId="{08E9E6BD-E16F-4FAF-B932-ACF8EF89DB02}" dt="2022-04-17T01:21:04.701" v="1571" actId="478"/>
          <ac:cxnSpMkLst>
            <pc:docMk/>
            <pc:sldMk cId="474684686" sldId="272"/>
            <ac:cxnSpMk id="5" creationId="{5E976389-FCA7-4CDA-A2B9-159BF1790807}"/>
          </ac:cxnSpMkLst>
        </pc:cxnChg>
        <pc:cxnChg chg="add mod">
          <ac:chgData name="Hernandes Junior" userId="b8c2b798-1513-465e-8806-efbca9869d77" providerId="ADAL" clId="{08E9E6BD-E16F-4FAF-B932-ACF8EF89DB02}" dt="2022-04-17T01:21:09.328" v="1572"/>
          <ac:cxnSpMkLst>
            <pc:docMk/>
            <pc:sldMk cId="474684686" sldId="272"/>
            <ac:cxnSpMk id="6" creationId="{640CA66C-838E-4D7F-B59D-C97A812E98E5}"/>
          </ac:cxnSpMkLst>
        </pc:cxnChg>
      </pc:sldChg>
      <pc:sldChg chg="del">
        <pc:chgData name="Hernandes Junior" userId="b8c2b798-1513-465e-8806-efbca9869d77" providerId="ADAL" clId="{08E9E6BD-E16F-4FAF-B932-ACF8EF89DB02}" dt="2022-04-17T01:29:05.961" v="2511" actId="47"/>
        <pc:sldMkLst>
          <pc:docMk/>
          <pc:sldMk cId="2578438488" sldId="273"/>
        </pc:sldMkLst>
      </pc:sldChg>
    </pc:docChg>
  </pc:docChgLst>
  <pc:docChgLst>
    <pc:chgData name="Hernandes Junior" userId="b8c2b798-1513-465e-8806-efbca9869d77" providerId="ADAL" clId="{20EB488C-D8EF-48D8-81BF-4190FA184221}"/>
    <pc:docChg chg="custSel modSld">
      <pc:chgData name="Hernandes Junior" userId="b8c2b798-1513-465e-8806-efbca9869d77" providerId="ADAL" clId="{20EB488C-D8EF-48D8-81BF-4190FA184221}" dt="2022-04-16T20:46:05.590" v="109" actId="20577"/>
      <pc:docMkLst>
        <pc:docMk/>
      </pc:docMkLst>
      <pc:sldChg chg="modSp mod">
        <pc:chgData name="Hernandes Junior" userId="b8c2b798-1513-465e-8806-efbca9869d77" providerId="ADAL" clId="{20EB488C-D8EF-48D8-81BF-4190FA184221}" dt="2022-04-16T20:46:05.590" v="109" actId="20577"/>
        <pc:sldMkLst>
          <pc:docMk/>
          <pc:sldMk cId="1841191749" sldId="256"/>
        </pc:sldMkLst>
        <pc:spChg chg="mod">
          <ac:chgData name="Hernandes Junior" userId="b8c2b798-1513-465e-8806-efbca9869d77" providerId="ADAL" clId="{20EB488C-D8EF-48D8-81BF-4190FA184221}" dt="2022-04-16T20:46:05.590" v="109" actId="20577"/>
          <ac:spMkLst>
            <pc:docMk/>
            <pc:sldMk cId="1841191749" sldId="256"/>
            <ac:spMk id="6" creationId="{65DACE93-691F-40EA-8E88-1B9FBAE9AE4E}"/>
          </ac:spMkLst>
        </pc:spChg>
      </pc:sldChg>
      <pc:sldChg chg="modSp mod">
        <pc:chgData name="Hernandes Junior" userId="b8c2b798-1513-465e-8806-efbca9869d77" providerId="ADAL" clId="{20EB488C-D8EF-48D8-81BF-4190FA184221}" dt="2022-04-16T19:18:41.648" v="93" actId="20577"/>
        <pc:sldMkLst>
          <pc:docMk/>
          <pc:sldMk cId="277781375" sldId="260"/>
        </pc:sldMkLst>
        <pc:spChg chg="mod">
          <ac:chgData name="Hernandes Junior" userId="b8c2b798-1513-465e-8806-efbca9869d77" providerId="ADAL" clId="{20EB488C-D8EF-48D8-81BF-4190FA184221}" dt="2022-04-16T19:18:41.648" v="93" actId="20577"/>
          <ac:spMkLst>
            <pc:docMk/>
            <pc:sldMk cId="277781375" sldId="260"/>
            <ac:spMk id="49" creationId="{D0E4EAE4-710A-469F-BBE2-69817E68D36D}"/>
          </ac:spMkLst>
        </pc:spChg>
      </pc:sldChg>
      <pc:sldChg chg="modSp mod">
        <pc:chgData name="Hernandes Junior" userId="b8c2b798-1513-465e-8806-efbca9869d77" providerId="ADAL" clId="{20EB488C-D8EF-48D8-81BF-4190FA184221}" dt="2022-04-16T18:35:13.815" v="17" actId="20577"/>
        <pc:sldMkLst>
          <pc:docMk/>
          <pc:sldMk cId="2342383221" sldId="265"/>
        </pc:sldMkLst>
        <pc:spChg chg="mod">
          <ac:chgData name="Hernandes Junior" userId="b8c2b798-1513-465e-8806-efbca9869d77" providerId="ADAL" clId="{20EB488C-D8EF-48D8-81BF-4190FA184221}" dt="2022-04-16T18:35:13.815" v="17" actId="20577"/>
          <ac:spMkLst>
            <pc:docMk/>
            <pc:sldMk cId="2342383221" sldId="265"/>
            <ac:spMk id="30" creationId="{21539A54-A955-4111-8D55-892A752CBEB4}"/>
          </ac:spMkLst>
        </pc:spChg>
      </pc:sldChg>
      <pc:sldChg chg="delSp mod">
        <pc:chgData name="Hernandes Junior" userId="b8c2b798-1513-465e-8806-efbca9869d77" providerId="ADAL" clId="{20EB488C-D8EF-48D8-81BF-4190FA184221}" dt="2022-04-16T18:36:18.599" v="19" actId="478"/>
        <pc:sldMkLst>
          <pc:docMk/>
          <pc:sldMk cId="3504001944" sldId="266"/>
        </pc:sldMkLst>
        <pc:spChg chg="del">
          <ac:chgData name="Hernandes Junior" userId="b8c2b798-1513-465e-8806-efbca9869d77" providerId="ADAL" clId="{20EB488C-D8EF-48D8-81BF-4190FA184221}" dt="2022-04-16T18:36:18.599" v="19" actId="478"/>
          <ac:spMkLst>
            <pc:docMk/>
            <pc:sldMk cId="3504001944" sldId="266"/>
            <ac:spMk id="24" creationId="{7010BD85-956D-44E7-96DD-B741693CEFF8}"/>
          </ac:spMkLst>
        </pc:spChg>
      </pc:sldChg>
      <pc:sldChg chg="delSp mod">
        <pc:chgData name="Hernandes Junior" userId="b8c2b798-1513-465e-8806-efbca9869d77" providerId="ADAL" clId="{20EB488C-D8EF-48D8-81BF-4190FA184221}" dt="2022-04-16T18:36:12.992" v="18" actId="478"/>
        <pc:sldMkLst>
          <pc:docMk/>
          <pc:sldMk cId="3739474229" sldId="267"/>
        </pc:sldMkLst>
        <pc:spChg chg="del">
          <ac:chgData name="Hernandes Junior" userId="b8c2b798-1513-465e-8806-efbca9869d77" providerId="ADAL" clId="{20EB488C-D8EF-48D8-81BF-4190FA184221}" dt="2022-04-16T18:36:12.992" v="18" actId="478"/>
          <ac:spMkLst>
            <pc:docMk/>
            <pc:sldMk cId="3739474229" sldId="267"/>
            <ac:spMk id="24" creationId="{7010BD85-956D-44E7-96DD-B741693CEFF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465D03-0A35-4B5F-B14C-8A26982D2B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6AE144D-7D05-4A8B-8A0C-A185DB8B7A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C9E1A81-F3C3-4F4C-80E4-4925981CC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D23078F-B03E-46EF-A1C9-E8D4612F7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7F89FE0-CAA7-4BCF-B619-05E2FDA22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944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E20F9A-86F7-44D3-99C5-041A58DDD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A2BFBE5-C749-4288-A451-43ACAA7599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B0CFB5C-749C-416D-84AB-9F4B729AF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780DA9F-CB03-4D83-AE51-1874E0121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73B6916-A210-4F3E-9244-CC5F927D2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5354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844B2F9-5E93-4E8B-8DEA-BA376B5932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749A642-F9BC-4D99-974C-7AA078F94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3E62F4-AFBA-4640-816B-68D1E1E8D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84639B-5956-41E9-8E52-363AC0D1D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8929C70-63DA-4065-BAAB-D7F19C284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5715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A08F31-D010-4E15-82A1-A9CDDF316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0144F05-8DE0-4CBC-A205-49F82514E6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EE23B5C-78CA-4C2A-88CF-8E602E35B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EEF2555-5DB4-4D93-91D9-EEEF0FA4A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D758881-D5DC-4317-9734-F1FB2E3F1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1656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27B8D0-78AC-47C6-A17A-46E1C9013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0160E4C-72B9-4DF6-8AF4-D6454FF85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AB88F9-83E1-45E7-85E8-06696EF60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4CFDDA-6EA0-4F1D-9525-45B357D18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CECEDA-0E15-45D1-8171-0F467E961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9638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6991DAC-D2D7-4DB6-9829-230903ECD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21499BB-235C-437E-A8CB-F3FD11014D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037814A-182E-4448-B450-7C7C5E316F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6D7F7CA-5CAD-4D9E-9407-BD4AE5F97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F73A62F-7BD7-4A05-BFB2-AAD978456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AB9D70-D211-4012-ABD0-1C2C956A8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547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0E16A-C975-4757-81BB-5EDF39860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9140209-2090-4902-9B13-2DA1B382A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96F4F10-1677-4D65-84AF-F1F3AC0189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F380497-036A-49EE-AD83-42536068D5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3E71931-A15D-4386-8266-C1AE6E39EA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4C68D2B1-61E8-4BB9-99E1-97BD8D543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AD7A3E4-6B12-459B-B12E-C6F8B09F7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D1CA92B-DD1F-46A1-BA18-F9DD9D1C1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0576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9CDD98-CBB9-4E8E-80F3-9E710DFEB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1B7EB1-CA48-4083-B58D-682D28663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01A4A20-4EEE-46CC-8186-1A6A8F085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7DF7D86-54AC-4B8C-8222-2784EE30A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1034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CF49FA07-F32A-42C3-9FC7-81410C1DF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B18B761-3873-40CD-BB8D-53DE7AD57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08F4371-1703-4A3C-A497-849FEE9A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8158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39AB43C-DD0C-44A4-9E42-908793289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CA90FD4-778A-493D-9DC8-5EA406474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C2C864-AECA-46FD-AB91-029C29AC43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A8D2213-FB6B-4594-A44C-22CB0FFA2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02E61F7-596E-44A9-B398-576C1EF65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D4DC3DF-A5E4-4046-8AE3-64C30B87F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4860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7EA444-9F7E-438B-BFD6-391528333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76EA0FF-CA56-4901-97CB-A7C7FF7934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61FFE2D-2CAE-42BB-8364-54E655E8B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83A5FF3-865E-4FE5-9E5E-87E1414A0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60311E8-7A17-4C28-83C6-63E4A7D14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5F94C1E-5E5F-4039-9932-73A1EED74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935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A1BADF9-62E7-426B-9439-F7F76AC53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6797F23-E8D8-438C-A66D-A1E102A5DB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7244F9-A2A5-4124-9AB9-B6A20F8C3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4EC8F-03CF-46FA-BE11-322BC77787FE}" type="datetimeFigureOut">
              <a:rPr lang="pt-BR" smtClean="0"/>
              <a:t>16/04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CB16B92-B35A-488C-99BC-BF32FAEFB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8EACA44-D56A-4C77-B697-777EE756A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A55B6-7F3E-4F0B-941C-59B3BC7CCF7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1380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8.emf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6.emf"/><Relationship Id="rId5" Type="http://schemas.openxmlformats.org/officeDocument/2006/relationships/tags" Target="../tags/tag6.xml"/><Relationship Id="rId10" Type="http://schemas.openxmlformats.org/officeDocument/2006/relationships/image" Target="../media/image5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C96D2C0A-5DA0-43DD-B2CB-135FC28A07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86071" y="-126521"/>
            <a:ext cx="13624999" cy="7039155"/>
          </a:xfrm>
          <a:prstGeom prst="rect">
            <a:avLst/>
          </a:prstGeom>
        </p:spPr>
      </p:pic>
      <p:sp>
        <p:nvSpPr>
          <p:cNvPr id="6" name="Título 3">
            <a:extLst>
              <a:ext uri="{FF2B5EF4-FFF2-40B4-BE49-F238E27FC236}">
                <a16:creationId xmlns:a16="http://schemas.microsoft.com/office/drawing/2014/main" id="{65DACE93-691F-40EA-8E88-1B9FBAE9AE4E}"/>
              </a:ext>
            </a:extLst>
          </p:cNvPr>
          <p:cNvSpPr txBox="1">
            <a:spLocks/>
          </p:cNvSpPr>
          <p:nvPr/>
        </p:nvSpPr>
        <p:spPr>
          <a:xfrm>
            <a:off x="1247952" y="1909763"/>
            <a:ext cx="9782954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NÁLISE EXPLORATÓRIA DE DADOS - TITANIC</a:t>
            </a:r>
          </a:p>
        </p:txBody>
      </p:sp>
      <p:sp>
        <p:nvSpPr>
          <p:cNvPr id="7" name="Subtítulo 4">
            <a:extLst>
              <a:ext uri="{FF2B5EF4-FFF2-40B4-BE49-F238E27FC236}">
                <a16:creationId xmlns:a16="http://schemas.microsoft.com/office/drawing/2014/main" id="{D2C998BC-A3F7-4EF2-AD79-003DEB7DFE55}"/>
              </a:ext>
            </a:extLst>
          </p:cNvPr>
          <p:cNvSpPr txBox="1">
            <a:spLocks/>
          </p:cNvSpPr>
          <p:nvPr/>
        </p:nvSpPr>
        <p:spPr>
          <a:xfrm>
            <a:off x="1270955" y="2223297"/>
            <a:ext cx="4773284" cy="55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E TÉCNICO | ENG DADOS QUALIDADE</a:t>
            </a:r>
          </a:p>
        </p:txBody>
      </p:sp>
      <p:sp>
        <p:nvSpPr>
          <p:cNvPr id="8" name="Subtítulo 4">
            <a:extLst>
              <a:ext uri="{FF2B5EF4-FFF2-40B4-BE49-F238E27FC236}">
                <a16:creationId xmlns:a16="http://schemas.microsoft.com/office/drawing/2014/main" id="{4E0B59BF-EEAC-4D3D-BD6F-BD6CB1EE7A32}"/>
              </a:ext>
            </a:extLst>
          </p:cNvPr>
          <p:cNvSpPr txBox="1">
            <a:spLocks/>
          </p:cNvSpPr>
          <p:nvPr/>
        </p:nvSpPr>
        <p:spPr bwMode="auto">
          <a:xfrm>
            <a:off x="1287104" y="4269277"/>
            <a:ext cx="4555852" cy="5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 Matias Junior</a:t>
            </a:r>
          </a:p>
        </p:txBody>
      </p:sp>
      <p:sp>
        <p:nvSpPr>
          <p:cNvPr id="11" name="Subtítulo 4">
            <a:extLst>
              <a:ext uri="{FF2B5EF4-FFF2-40B4-BE49-F238E27FC236}">
                <a16:creationId xmlns:a16="http://schemas.microsoft.com/office/drawing/2014/main" id="{A06B5960-C022-4CF9-B14D-2F775AD3EC57}"/>
              </a:ext>
            </a:extLst>
          </p:cNvPr>
          <p:cNvSpPr txBox="1">
            <a:spLocks/>
          </p:cNvSpPr>
          <p:nvPr/>
        </p:nvSpPr>
        <p:spPr bwMode="auto">
          <a:xfrm>
            <a:off x="172527" y="5900149"/>
            <a:ext cx="3971025" cy="5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5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gt;&gt;&gt;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8F1744E-DB5C-4E67-914A-5EC29E09313B}"/>
              </a:ext>
            </a:extLst>
          </p:cNvPr>
          <p:cNvSpPr/>
          <p:nvPr/>
        </p:nvSpPr>
        <p:spPr>
          <a:xfrm>
            <a:off x="-1130060" y="-793631"/>
            <a:ext cx="2260120" cy="220836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B394CA7-02D0-4492-AF98-F3A507CB46AD}"/>
              </a:ext>
            </a:extLst>
          </p:cNvPr>
          <p:cNvSpPr/>
          <p:nvPr/>
        </p:nvSpPr>
        <p:spPr>
          <a:xfrm>
            <a:off x="11473132" y="362308"/>
            <a:ext cx="718868" cy="51473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717EFAD-980F-4282-88A4-292D79C4A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8751" y="6107489"/>
            <a:ext cx="528781" cy="52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1191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003F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INTRODUÇÃO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948900"/>
            <a:ext cx="11582341" cy="9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Utilizando como fonte de dados o </a:t>
            </a:r>
            <a:r>
              <a:rPr lang="pt-BR" sz="2000" i="1" dirty="0" err="1"/>
              <a:t>dataset</a:t>
            </a:r>
            <a:r>
              <a:rPr lang="pt-BR" sz="2000" dirty="0"/>
              <a:t> Titanic, disponível na plataforma do </a:t>
            </a:r>
            <a:r>
              <a:rPr lang="pt-BR" sz="2000" dirty="0" err="1"/>
              <a:t>Kaggle</a:t>
            </a:r>
            <a:r>
              <a:rPr lang="pt-BR" sz="2000" dirty="0"/>
              <a:t>, a presente análise assume como objetivo traçar o perfil dos sobreviventes do acidente.</a:t>
            </a:r>
          </a:p>
        </p:txBody>
      </p:sp>
    </p:spTree>
    <p:extLst>
      <p:ext uri="{BB962C8B-B14F-4D97-AF65-F5344CB8AC3E}">
        <p14:creationId xmlns:p14="http://schemas.microsoft.com/office/powerpoint/2010/main" val="277781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5E976389-FCA7-4CDA-A2B9-159BF1790807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003F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7">
            <a:extLst>
              <a:ext uri="{FF2B5EF4-FFF2-40B4-BE49-F238E27FC236}">
                <a16:creationId xmlns:a16="http://schemas.microsoft.com/office/drawing/2014/main" id="{811AC691-E53C-4E09-89C8-AF2581A45245}"/>
              </a:ext>
            </a:extLst>
          </p:cNvPr>
          <p:cNvGrpSpPr/>
          <p:nvPr/>
        </p:nvGrpSpPr>
        <p:grpSpPr>
          <a:xfrm>
            <a:off x="-177548" y="690956"/>
            <a:ext cx="2012325" cy="203213"/>
            <a:chOff x="213501" y="1198541"/>
            <a:chExt cx="4744959" cy="579792"/>
          </a:xfrm>
          <a:solidFill>
            <a:srgbClr val="003F9A"/>
          </a:solidFill>
        </p:grpSpPr>
        <p:sp>
          <p:nvSpPr>
            <p:cNvPr id="11" name="Retângulo 18">
              <a:extLst>
                <a:ext uri="{FF2B5EF4-FFF2-40B4-BE49-F238E27FC236}">
                  <a16:creationId xmlns:a16="http://schemas.microsoft.com/office/drawing/2014/main" id="{E1B3B122-6B11-4672-88A5-38938F21DD28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Espaço Reservado para Conteúdo 2">
              <a:extLst>
                <a:ext uri="{FF2B5EF4-FFF2-40B4-BE49-F238E27FC236}">
                  <a16:creationId xmlns:a16="http://schemas.microsoft.com/office/drawing/2014/main" id="{6FDB8E6A-0EBC-40C7-9CB3-9AFAEDF152F5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grp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nálise Exploratória</a:t>
              </a: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492F7DFE-EE9B-4CD0-B0C6-6FF16CD925CC}"/>
              </a:ext>
            </a:extLst>
          </p:cNvPr>
          <p:cNvGrpSpPr/>
          <p:nvPr/>
        </p:nvGrpSpPr>
        <p:grpSpPr>
          <a:xfrm>
            <a:off x="1648377" y="690955"/>
            <a:ext cx="2012325" cy="203213"/>
            <a:chOff x="213501" y="1198541"/>
            <a:chExt cx="4744959" cy="579792"/>
          </a:xfrm>
          <a:solidFill>
            <a:srgbClr val="CD357C"/>
          </a:solidFill>
        </p:grpSpPr>
        <p:sp>
          <p:nvSpPr>
            <p:cNvPr id="14" name="Retângulo 18">
              <a:extLst>
                <a:ext uri="{FF2B5EF4-FFF2-40B4-BE49-F238E27FC236}">
                  <a16:creationId xmlns:a16="http://schemas.microsoft.com/office/drawing/2014/main" id="{397793AA-D5E9-4E81-8D27-0832AD5F3C30}"/>
                </a:ext>
              </a:extLst>
            </p:cNvPr>
            <p:cNvSpPr/>
            <p:nvPr/>
          </p:nvSpPr>
          <p:spPr>
            <a:xfrm>
              <a:off x="213501" y="1198541"/>
              <a:ext cx="4744959" cy="579792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9318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275 h 10275"/>
                <a:gd name="connsiteX1" fmla="*/ 819 w 10000"/>
                <a:gd name="connsiteY1" fmla="*/ 0 h 10275"/>
                <a:gd name="connsiteX2" fmla="*/ 10000 w 10000"/>
                <a:gd name="connsiteY2" fmla="*/ 275 h 10275"/>
                <a:gd name="connsiteX3" fmla="*/ 9318 w 10000"/>
                <a:gd name="connsiteY3" fmla="*/ 10275 h 10275"/>
                <a:gd name="connsiteX4" fmla="*/ 0 w 10000"/>
                <a:gd name="connsiteY4" fmla="*/ 10275 h 10275"/>
                <a:gd name="connsiteX0" fmla="*/ 0 w 9980"/>
                <a:gd name="connsiteY0" fmla="*/ 10345 h 10345"/>
                <a:gd name="connsiteX1" fmla="*/ 819 w 9980"/>
                <a:gd name="connsiteY1" fmla="*/ 70 h 10345"/>
                <a:gd name="connsiteX2" fmla="*/ 9980 w 9980"/>
                <a:gd name="connsiteY2" fmla="*/ 0 h 10345"/>
                <a:gd name="connsiteX3" fmla="*/ 9318 w 9980"/>
                <a:gd name="connsiteY3" fmla="*/ 10345 h 10345"/>
                <a:gd name="connsiteX4" fmla="*/ 0 w 9980"/>
                <a:gd name="connsiteY4" fmla="*/ 10345 h 1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0" h="10345">
                  <a:moveTo>
                    <a:pt x="0" y="10345"/>
                  </a:moveTo>
                  <a:lnTo>
                    <a:pt x="819" y="70"/>
                  </a:lnTo>
                  <a:lnTo>
                    <a:pt x="9980" y="0"/>
                  </a:lnTo>
                  <a:cubicBezTo>
                    <a:pt x="9753" y="3333"/>
                    <a:pt x="9545" y="7012"/>
                    <a:pt x="9318" y="10345"/>
                  </a:cubicBezTo>
                  <a:lnTo>
                    <a:pt x="0" y="103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Espaço Reservado para Conteúdo 2">
              <a:extLst>
                <a:ext uri="{FF2B5EF4-FFF2-40B4-BE49-F238E27FC236}">
                  <a16:creationId xmlns:a16="http://schemas.microsoft.com/office/drawing/2014/main" id="{ED9DB707-840E-4DE1-9A6E-D6F47C32A80C}"/>
                </a:ext>
              </a:extLst>
            </p:cNvPr>
            <p:cNvSpPr txBox="1">
              <a:spLocks/>
            </p:cNvSpPr>
            <p:nvPr/>
          </p:nvSpPr>
          <p:spPr>
            <a:xfrm>
              <a:off x="1373888" y="1275407"/>
              <a:ext cx="3164410" cy="434517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Titanic</a:t>
              </a:r>
              <a:endPara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11035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NÁLISE DE SOBREVIVENTES DO TITANIC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tângulo 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SPtoMhLAvxgNGNIjjzZgi6ku2lWwMWXjL1a/1Mhul2cswXf9e+Sf8Eo7JA8/TJ3tr+vnj2bp5J2xL1FsOj6Zq6Jim1TI20T9g5Lj8YPIf6RFa/VOrJiVaBbDmEA2DBG9teeO8c+ZeEm6Z0hIixNapOunNoR8vGjaaL+Pz21wzPUBJGuKWueodki99M36mx/r7Hq+HaLpnrE6BC007rs1V24qP48IXMreVq9zszpqW7KXUv8uws+rte6GhiVoUfEiE3nVHykXczijaXVr5T9inwSwvyJ84FDUfgrbPpMmPbu0LZTwC6Tc1lC7R2VWQflgARYqNM3av8+NW3aOFBR9uQVs+uHevX9GHYaEnJIpDLCYGZOuAsSFsX+eimYYc7vJTYCLFj2RjaoI3Y80ks+E5Y3W9ua6gOzMoeFVcU1fWIRGY9isgii+/IfnQOBMA2N2s5xZ+7zq1drESIkkGxu7VyV3kwGV3rMNKD9RCz0dzqjOQ4gQ3UI14D8G7rI80zLJR6TPgWhLtBC7N025fa3lDy1yk8yfxED0OqNG1Tg5+0O62w7ScBlUMcJ6yXoi6IvuOpp/zPeYrrDjPXRR0CCwPthtYW6a/Gnzcb3Ebw/wBm44LDGXgoZzT4eNY2MX5yLRuM0zGGSwkj2LJkzQ0fHemBnlUxCkb2Pl6Qmm054xMLsoKG+P8FETKBvVv69Vw2mO09Z8cDOvxcrrDyq+sHrrZvfy1ikxwJ8f/0wTINKK48i5hQNL0/Yn9DjojpfdfN1JP26q+O8ewILt4V7bY8oEt3FBCW4VmMb1+N4ekdWfpHgkTkWyCBode0YdG0bmJqgRczUkIH1nDwGgExufMaWX+BnpY0YbaX4lHWHIr7WgEy/X0UipBF1w5A6j+flVOURZ9X+CrkEfMMV5zne0nT8yRoKVOi9eS0TwcUh+cBHCYZ+kqeSERJ1igMImTZa3/XanLu+5t7XCf8BEUZ7cdrgOoMy0n5XqW+Uj21MyT/w6srKn0bi6jEoK3q8/FqCFDrMdsWzRPUk6OAEkWBBxPKo+fqOgquHt3oA0/zus8Dk/p9YH7Y//NUkBSXeEzXCp/zg2VewMzrChls7TjC64Olii3OrgBZQMXYb8IdSxM6uCX68Wzoq9mKlxZrTHu/M5cXXowgs69gV9y6LtXaE6Xr3k6yLyvP/kSafCbLZwsUGZU+D6JGjEF8Md1x7CPICapwqCnQuM64xJB2lAIlJSfijZveiKA6+8cVGdp7xhGhW6oqGq0kLiSVwg/N1CkVst0c6Vxi7pWPaDLGyAKdu/OQ5DZjpsN11jItlzOCcpE0aRl2ab2UQCIgfQw4rRItuN4meSp4hSuqGuf9wVo7bQt45TV7kxxFR0FwR5fSSv5dBfmyLE/2xY7kTsmvvn5MPCbnvcT2bINpBfM0k+eTz/gwpKQUC485Oaf/6zreZ116eK7F7rmDHJT0YmHmaPyp1sJYYGj6lx7H3ga2ozymGaL7wuGAo3h4O+AeVc0LEEMBKTxDcdHSVJLVpNkTkL0exTkxMp6G4WsZ6RjDF3UgOPyBzITWKYCfNpfR9dg7hGlEYyjPROZRXmAFJDWFWAReYrri9l/HjyzizkpXq+Yl762zpJNWe4wKi5GyO/nr6BIlwIQJAtwgb7ZR9NjHx72AXPUfoZ9OZ7glPUkd6+QzbClcjFBB61tL2BVxasnNADAq6T9Hu31vKYrkt0eK2Xgxcg5y/yEXFJKEr4J5cSQ6cF2OKeOVA/7sY4v7VfbsMZSYfrj1/Q79RTtnMu0gJ3RDv2bxK07gZTQ9UBi4C7aP5pRehLJLF7kzsyG0W+5UCQxsQn4ogYGcpc2UZ5NqA9IrYqDWV9tcIbWssVr2273MbYbTb31trMwWtqiug3rCV6F2RalQnkHrdas/ig4uuNx4R0jpCo+KmDy1fQzqPAX1Nijw5sDlAUiFptuiMvifMNRXf5wNW5FAY639O+6ZDw92z5CyeEnafE6hAYqedrtHs3fT6r5HuSIVuW6JhiiNlecBHhjxnZb/2hf7sBAquSa7MHZJPFJq6AEi4GtAudt8iu6lP8JhFLb/g5go7HwSGGovlXXfS8h6lHNgy2qALFB+IjK1LBSWPoe3pP/k+00SE3TmhMQIm6sIBv4msSWugdYXxVhJYkIbrfljZqJl+BxBSdIhdPsg7r4b1qQPrY5LkV5ISBn0VwGQXOFGRJc0W3sO5f43oMnERKwVYBWzK4+ef+hZQaQrdeD/hbPw/ELhT6Zw9Z96ryANHSI4HpcmSXFI7mJtjZD2VHm/P5XT7b6/T5auINlvxn7yMmVomSjYM8YBGCIw73WMIKNV1i9wNu9fxbOJAOb30oLj3yf0XgXwnY7peDUJCbVVhD7flFz/wC3i9dRdTN/EUtnomAvyDI3CudBVe97g1F7PM4e5cAUpmqeFYGhg63IC/ZEFBJ2G9HgBBlYRHKQy8bWtcs68Dquxk146B1a6hFli/bCu7YLSELqH/t+Ph99fmJ83uD/FZ3g/f4sva7skpgxjwM/MfUiwXJSWdXgdooIjzxjiOB1zx/5fzTHlIIPhuOSOWZV0FjkvMtzQaakwgmajHgR2FFPl/+nAewH+d0JFkF3sdRfzZcnt/XAg5VfEitINjY2LoAvizTqMqM1KO7Z1JIuRPTzwigqve0eghJPDMUtILcABFOrNb0WucMzuiM1H+NmdJnXcfz0/cZA++FDLopN8Yc7kAY7Y8qw8SFCsRaXKC4hJZvJDh0onzERUjgfSIM2tn4tqgx87rTOVJhjCFGHne3KkTnQbeDyPbaR3qqdEJwvi/NpFJv7keEWhxJfFwGmKVs0hk3b+VzHBK34RgWkMcyt2kEZWeZQyiCJRlybKANiZBzXidxcXoBfC3qjabx4IHt2gqH2JzGFls4EM2/YJLIRww+vqxtDpeQfFX/pxfpmXEKrH9ZxLYbg7MoKpfxAYH8/O2nKSadLAIKLidaOvzhZGQIzI1tk3Mkzhe9n1j0hsI2NcqbfGtG8ZCw9FBySih/o5S9Mn+jwebie2pwYJeHGhnIb0VjyvJXjjL7SuNNvPn4OJ6Vz7PzzFEeli4NRQJ6E7c9yY33TdDSimYLQmDPxCY+y8Kun6Ojaj3z7qxu5MzWcQ0cLishx+RdBmJ76n+gsNXSV8aJKJqenFSkFWLNqVmeBu6nk++c6OdibUisPZKOaeXqSsHNO9Vrru22fHCiUXXD569bHY35jo/f1kuiwGQMQZoDsIBD+i8KBg3Zy1mAMYjIntwU4SOo3z/ijIzWbUA4Y5OqNZSgeGlqWnzyv/WLe/ZaGL9ur0P8TlVZNOr2SeKWsg17VFs4AHoTp+wWaZzjolrCTXyLyRjpQSircZ6X+JnTtJwEWZp067uBKSyjyvJRf93LQU3zCJ1bnIfOd8UOoj6C+HI+82MakuVdkyUJBSUlT671wHkcgzMOpCWzxBLYwbFcat9jew3HyyzVGJ/dQU6bOpWUWyvEZzl/dE1BFh5iidl6V9pTVMoId5NvhFdJa625iGh1m6v4XtK9JRhO90wUmNHCqieCDQn7sxIRk5sPWhuDAu3xTf7m/tTgSELfUPFPfbpHwFs/v7+GQgwn+dJyvr4bpvQISGik45UGQejWauFI9papimAS7UsEFmJFGyD54Ah5U8DqZ19HoMFaULYjEXTVaT59bUgcYJViVfXH6C3SYivMnvn4WS3wCdb9uIjb1I/duMz21SoBFWE4Ol7iaXXebh6FKrUrPDajMBCTbPqQup98iNS4xzIRhw3UTohGR69h6Fzag+HeaY5s5r4VaUeSdEa8QWC6MVhuVOMK1ETnlbPwiLDQfNCCXyGYf6R595d9VA4RSK+cJpB8oNJrB8nqowHT3IuDPS4bw9VxhvhP1uSBpv8AMJwJg3BNdq3tf5/GeW8bkcUgq9yU3PhEYwUvjDx/1t1lDhKTncu7hAs7gWA+Z9cYKqlGSdk7akvmZpeOs9ZH5olh0laT048W2jo8GbVf3vjCnoIesnoXbzaK2/qt0LcPOvSZBq2bi70lpuR/LpXmvdYITMybf2iOX8IG7v6VrmXh2/ZK70bOdQG/RYemNXVX7A+kh0kwM6rt+VhOeh1lJqIymz6cV8+6afzG8mDbSA45Nog1ei2BrjHfZ62NbEZvz2r6ML5jd9nIMOp/PtNpqVuWSIt4fKI5zBiWTum0Pf+Fz68y4l0PWh9LjjXqe/nfnThRVf6XD+Ki/A8p9MU/HSCvfar/bcdP4rXt7HufOHi4ZVWJohBcx9dNHLLF1fgrnswraFK3pSiPI9K2SO8HxhfnuPg0J71wAuVrlKm+TAK5k7yBRs8xH7Cmcq7Nbk8g1rwtOQBN95B15HG3ey82PA9U10SvESw6Vlld8Wb0FzxkcRHeo+qNB1YN29vBkdfW3zNWCI2X4U2o63IzI5Kq4IjhFHjh7MzPWRHH2fOiLX3dBG0Ly3U1j9iMV5KcMdtI34iDeO7muKpW63eJaPoNhY72dzFDGMUCbL1R5WoG/Hzt2ns6tWNGthGMaQGihfKSZ4o5O8h05WmgwBZp6tAySW4JOMeTkCLd23voyy8PIN6g1AdqBU5ribGN55QJoaj7XMjiBcjoyUKQNBtKYRQTtWNEYG/MtJCf8X9ggl3LflB78cMb4rpijBqEDKN6kSQhgny5eHmbczJbRaft7k7kC+SwuFNy6mYIZ9qpI6jubSmYuRLytKMTuwiP3whGCZjQZNe2KE0IL6tinwaJdm54fqYMTyBSVUM7Rsmu4ii2xsLf47Rxu9M9x3Pcm/M6HJnViNfK1mlbPJSTzvJKVRQcaITpT2H3a69+bCOkBs5vowxz5VFU2erBvILKYJEfW7TjHqHab54QZiGlYhzBpu9iFuDJ3/HCZ0u51uTyLIMl/uBnDiU4FUMzKSwRjluShnjvjJnPHrCpV4/1VFH8YEysawxajt+O4QcRJxnvnL357qQY+MI2fVvB5OauB1wVwRuiiTIO6ZKC12TOc+QzQJ3PHf2+dSANo7b5CCHMnQZezcWwGAMqeveHNzNy0j4FjglmqgDcLXHTDIsMno8OO8BRIvmNfHtAWOfWLfuNDF2OcMAvc55d8dDfFst4e0v7iX9cDxgErwym2zT9Ye57k6lHZ8iD/j/4P6Hv1qsa8aYsmoiPMriMpq3WUj8OfQ7zhIwu32gIocDj82Fbsgc1ZYoqWgqDsrOZp2gyACG+fl1chAUVxo87xx/PLWWsf57vv++aneSQ+uNSwueXiebnwD2ThKdiscM77+rzCTFfgZNNo2Uvvu/msVu+ZB50Dc3ZPAEaZYxC/XlMscwPKpAr+RhtanV4c4uMZqJfgMIBC4vWWqARH8zSq8+iHF7n7JhRXCHc2joqw+y1XkT1dibvepGxIAVdsWKIcoaEV9XXongos0SV7uyeM8/VDR6//vCVZA0DP89rLu+DtewzCiTUplb591DrW+8gUXuK5s7IuhB7bSEIblp3fp5rvu4DMLd3HuUxZFthTcgYVaK1pl+dBojpl/8xBEj5DRo/sNGN1kHxqdTipkyKJp2xbIeyOK4+6TLBTPBGzC7HJ/uffKOrGVMiewH9Eka1AmmU0KZleCavbxD373Z/X4HeOg1qye9IxpecCvoQh15H2g3oWU/xlxzba+uwz9Nc0P3KadqIReJmzDzldu7xPV6NLXQenZ3ZCj4EBMinASWNnlD+8NSjeSo+r1c1OJ0LgE6+VFTNeszrFYUn89Dr/Peo/SbopU17181XG3hfVdfPkRuR64ae5xbv8W2wtcgyBIruIPHpwpuOIq6VZVXHMXlQAnBCoIE5N9Rh0x7t3T0TGAKYVKlla+Tmtth7Ae/151njpIfe/O8I7E3sPl4F2DJ7+wHsT9CyHzxt5H4hgHCUoWAMY2xFrCkc/MGKELYKvFPmwb+RXYS+Y3gD6GVrETrGKv3Vir55VPxmxfJ8QY2Q6ukMaH0oJTZ8hzg2Nk7eusAhTcdQ6YM4o87Gdk78Aw9mxe9EgZdcfvnkrRAqP6EQwGvLz8cbw2WrtO7TJFIMEyR3Q/v5tU6It3Si/A/1LtBQ2yp15XBfgsBxVpX9wgIjV+La891vP8hSiTPhBEbAltx/cwLp35FR1TzsMcMHpiU/B2Q9hG2fz7L/Qq/uahKSKAWqusd9uLK4Ck3Rav211aPdZcSG6mMRMaFfnilCbPbzBtCZQs+oXLPbjl8OCeDiD6N5AOpicx2GElwi/7TXIcMSq7CZG3hjhP/btRpXRzUkxCCbcrp/fWnEJQQcX7Myhm3JzXlr9KuPSgJRPQrBYPgmB0HXLJ60woXEXJxu8HffbTJ4DnxZh+AWnSDeX2VQ/YSL4icvMFXIfrYSOP8aizaP+RFVMOZWiYzNya4A8eSDPyCxf5WRcGAO0zIDmzqPnKqUOzoWYBjhPu8iIIU4YVD+dfr/9TZBv3FepmBJRxLEWAMivdLMMNDKpX+AeHVRn+Z8mRtsDKPzoszguFGSs8MFIA+Qo5rlNPjTBIjBzMtxtyV8FBWb6diXUU4Eb5pYlRNJCDqsOxPY7yoVpc6n1KCMBnUL/X04J8OKmW9OdoqI9Yd0HLjKmJxA/YGYpHUOiC1rPcOouQJGiLYNqGmdjd2bgKWpAhMjPgCLTvxHrTJ3r8kXfTpr+vL/oEeDe/7BTQVQCk0qbmFtF14uidvPFyifmEF4TDrdvPs8qBhOtIoe/SxnROX3ZAs5XFrWaOQ5D3Z8Op11e+gtbk2BjbnmwEpa4toDBJedx7OM/qUOkvevCK0wUy4FG7A38THLG3GNRqC6iZMK67S/SAsKkki6M2ti1G30X1az7nQGa3ASknHeM8C9dhcOcZBQX5qbK6T5efhnYnT7x23Zckj4uhWQfVmPt67ml2Gmy2jV+ixmqiO/Tl1Gha0JEEUL9XdzEe2eh/h7ZhWPIpiW1lAarYFpEzGidDukdKLuCdrhtx8UPjfXjUbxsRLpVrmyLfsvZXUG7grad8J8W2qO8EyskMQa2rrM1aaIHJgpFFeNC5JJaKMnD28vKM0TyXsyIW6VIQWlH2P4+OSdII5YOX1862XP2sHP5yJd4JE91IKQtsDXdAI4Hv7cyCB/0BUJwlVn0IxzfVKtnXfKS58CXS9a+FpkSJDUaPwAnnZpl8VogS1htBu8Hv9Cz6LOGDb52h2z55Q8IKm5xxqNvy/mWfyXZeJ74tL9hPheiw/Uyv1dZ6XL8Q3a/G0EjWjo61Ie9gUxDKvYPLlBVhmlkBCkZQHFlfxHLrqVkyCZV2nNPq1hyZSVaMnoBpjgfFDp8nVsspTY6aqcrFTA493VzJ9T6SZAGaMBTlhqWMnowgH62XulccmEaePUrXdANRdc3XEAiQfQv7k1IZ1dUXZ9DC9/6DdHaDvdlt5xT04eHz5JbP8Us9MThOjKy9hfP1/LWSP1qFbGX6GzFFMjgepMgVl0VcC8prwE0sWzNtPo/ZFBNUEFRXWY9ECWI8S4UbhxoS8vcP4TeOR0PYiivgPx6RAwQ3d2vx5bBjCWlpUyRRrVZXt+FtYyiPsxfU4Y1KJZeYNQlw8x53wCrYbacR0ZefnoloGAbLDTXwNkJXds9ieaGxGS8YsBsA3T3So89vMQaLOncmntBsN3WYHO3o+oWKTwhsq4AIEkWSTKD8BTx3BIV7fOCDtX+IIaWju9uy/Puvni/zQfMG4nH+wFG5LI0DRlMCGzYnpVpSXzh+eX+OBP0y0OeHxXYlLGvcZlCbrbWemVrMm36ADxbhdO9wkqC40VB4dYbAJey6P+RNXPSu3XvA6Ld08TwU6xBXeYiXREKH4M1TlL/Kubn2UnVWzGW6IvvLuOEnhRGV6mOuWFCuC4lljJUw/nu7Gc9QNpSyVdYgMTya7UKNHl6wEMXuaS6szvEQcwRRrNILj5KrsBYYEJctHgdAGF7jtSAIdDHFk62uHIk4UmkNzrPC076hz4I1TshGbA0uqBQ3qL5+7h0QnK7fBMf21XGUioJha4r7rGuVMmsbJbPhX9S6sgVb1Pw7BPIOR4USzZgWqtEo7V5Lmw+AJGCuJ+o7WrK74/9/4BRf3Q4oBXrLjLa0lnP5mCjAOI1QOvIvrT7n8ECDqkMfOqkiJF/A0uLls5h3ft1SE4Xzp+xNTJsrBJcFDRKLL1rwtW50vWSCEhmsCsYzUxV1dGv4Q0bIsTQJ2bYUfQXO1c6zzo8O2Ao7RiS8/CMzE2Hw9wtpsuSZTPAIgJX4hlUWA5Ir+qBzZ60oZ50Gj34+dzIGmhEIbtE4j/onwsBEelXdVpFnDZk7+OYjiIgPAynx56GeTRHaOW4nEiw1q8Y0JVFsInbe1glHDsIMTtcYEXaSbA69axUDKJbUVJXq6RFpN3+l02TBeBCzf/eRnkfs4Cea3HGHcyxcy7qneNtyYxw6BPB0MaCngJZFWBezqB4F1wf25sVBJlau6qh6EM0R22w/jf4jZpztGci7IpnBYicYPh7pD0jGvnW/CZ98MUN/RCHSLiGIn3qX64mOOhq5r1s74CN1RSbdlcMdOXw9jyx2dwqKFnl78k8Tx4MJZbHkI9vQ4INpUIu90FBc/gL06bBkQGbQmMRrzsZwXtl45VBnG0r2RW96OWeQSydBxrg6WN4npl5HTtISfsoc3SqKFmKkCm0qLujLLGW1Mn32MwknzP/Qt6UtZbDdmsv3bMyB4LFybZwi6/rBK+4hz2i5n2IwPSSRLsT+Zmzue10O3NahgkrNWr+uubKGi00S5Y3w7MBpPpJKrBxX4NW8FZRazyJE9jO4KfP5EOg0IXZV6xKeEiQE9VlWRybEw6xjaFWGlHWCLIofjF8/jzadE7LnHannn0cPJ0gKAAOZRh2yMEKx8AirU8q2/lvJZZoJQpG24dd+Bf4k7fZ1dfnGgMyFTAdsIy6twG3kha9DYOhsIbFhPNLkXepb/W5/kCM/dgJNONnxWTApsrDnmzSIE566ZHGDtmr3yPw0Iu912z96R3RfF3zDFgqXXSt7TdRaXp6IxLBZyMplYGq9SILmr7GczY93PyT1DeLuq7KbwrLokAFaTGXUCeYed42E0dGaBirJo8RnUFINqiiLbcy/aZA2pRmD4UW3IfL9xCJ23hURMD2W99Kewa8XfvalJX7yFOBaACIXNcENY1j+kVaZhcF4cIG+tQq5Cwdoqu3grfTaxaRMZMdwqEEfE3Y/PFPclNuJ3ihGRrfVAMmk53Bc1iAGxPP+xTM6o7gm7bfgOtJXK7w1KTVSjkjcUE264Zgsg15jZPpSr/M8b+c7LDH5lR+MVBzia2WQi63WpVloc0p+rt88F+XDCXiejJXumnmG0+LHZMd744C+o+ye2fQnIz8b4P43J/1JYF7JuHsB25L3jRgxTFoPl95YqBWbSeiWe2C9FWjwV+78oZEgmjGp61tay7/TBasR/5I9VSobbv+68kHvEeCu2yWDqtGeSweavHKg9Qa256jxNUzvuZ59FrQQKsX9c32iQbL5Dal9sUZjcgiVZQMrdDPWli3R/8s+5hRNsCQKRwXHbyoUHGvLIPj+GDkVcEZlp3FGjvpUCA4YObwkrWLDUJfSVgoQoSIMa1ZvUQUe0lY2T7BCshDG5amOb0xgCXVvUg3OEQA3dCrONJUyc2CvLdgwj7Of84O14rVKnHRiVm5wEbINkB2XFY9DeD8rQvICZSSmYJGbSmqd28Y4iNVtJC4L/7tOIu0UVq3sYgVbxtH6Rns/BKvD8CxIxmu1+PtjjsfWWMcKcu8VYM2zfjNTIPeOgbtdq3iS83neZwWXb6IMKk4+gStmC/+M4/IPsVoYRUwDgSh+aLddGBe/Vn2A+QWYlpPJFBkjGAgX3r9EfOAuaYAPto835yk4IsxijKBPjGh7Q9LoX7R6pJZWI/TpXp7B+hYL/typxcYiCj81z/3L0Cl8vemh5yy8nftqz3Bk3v7pjaXrgBxB7AsCeYL6mXbtvoVbpXKfIZc99c5/OuQvN0yHG3CoWsRcMXFojPc2hTR+QuhcUYdAdbDA6yehucMM5uLClUHlDken6BceM+bR6Zefp+0sC7wKUUcQ/BEe3pD+mfnSikV/7zy3oFY4HTpvHRtsxrZjx5ZsXBrR+XgPN63/hUOnHzywPI56aseoMtd8QOOGbGFnpNecjn+67wsXnU/GwVbxLhy2D/PNXJjCQzO5i7uteZeOLxLg8JYw6cJivxgqL1HWCoUjgEsLKsf/cDgooIKFc1DxrP8eH7IISycalhKruVMHIk821mcO0NL46/97D2jdX6xLHrKf7SPFsnYJCptPV7PxBnQMRQ7rEPGhUMiws23sxM2EDYQEDBDUpNFrmm0tkgoAIBZUQ6JMxogZs8KoORPC7TmlBuEmxe0fnzVBp5+8QteyLZfTTdX8k3XPl8oUJk1lTZfF1G2a08Lt56i0oABkyYrmxMwOVYV1gOz60CeVUzJNVDDgR+HX7dKGcuTT+UZvGgEMetpMsf/tIsKYrwt4T4RoHZUnIDXyto1uXGF0jJqKMxd7duFr6HMbPy+bdKJSHHeHFqXkOuZsffCK6QE8kvDz1bKLWCdea+S0nm3ln8EkGsw7h6JUKDuA27AoVnoz+ki3YhkN9DWGXhF0+HC8/jjfjw0f4oKDnQ69X/UYDh3Piaw7TtRe+FtQhqYJGH9DWOzaz5uVbGnT+GZN8JC751l/KaFqrg8OpE/nIKrLB91qbLrh/l10Uhk3ndA0wSYT0azqe8pQCbVlzXRywwZzUoGDlFCFkdiwaJLuJTySiPhErYWMIwwOtGhL81J7kL3+PI8xomhSKpgWFNpbnnb1jf0N7ReWTGKH2Yw/Fh7cZfX39XaD1/ubsX4m1huRP2akpIiqtsycBpq1NPPG+/ZphmZxOBa8brITZpEdSkZAIq+WnGm8rJiUpHgyqMFm4Fpq/p1pA5u11ArX4i/jQRDb3Wkw0l0Ta4Z2JVKXwg6wl9GHkRl69P18RNSGRDWyL12vtAiADp/OlsZSomQfqRy2g1Fqnmu2o8eJ6RVQAxzLewcIR6bd7dZZJpWyg/mzzC8X64SsBUTjoUvYUeK/UEcx5bzl2/3HqkUss48XKdxP/L1eiOhM9TWn+zPKzmBIeSfNT0XwaVKZSEWx2t7H7RDAx2fjAMfNjG5Ykvg/3y3akXHm31hEp1T9QWSUpcpiaEzEoixv5NJKcYF95ORf5AyFz+EnDTXYkWIcDV+IAS0x3KLgj4uJUKazMyOS5zML8L5WfKQSG0t3Zp/+AE5GAbRGDWlWjTW9gE/+s+5eg1VCTPzwWcUQx6JFuup+jxiDrHZAFZxCtE4IpRCk8ZhpsiVTRBvu7TWLJvz2TmNjJPNRfjJDktWbiqb/OaN6SnNgvQcUJHHjAFHSAaApGtWzMQVyNUTKJ8kpuFFIimQti7YDzF7xJspoPf6v5gCCQJYswQR/VnIqF7EswnEaJ6oGsSBNZLn7mOfMzxEbXcEkP+uylB9OMbbEBmXTt1zfRvGaSIEpx817f/wxI6ysqjasxGe1dsXN5WrYM4N+XHmA7DQ8DwjKP260AkmTTzx6gmOkDqcgPmls06uushrS+u3vXFkogXx0QS80xSIkdP07QEQzmp+We0l6D5tYxYcl+F2dyasp0Hg66sDIB6xNzavM5ZYdeK6rUtAB7EDxghiEB1rVYxMIlg6dLyyT7lly7emioAd2n6mMMQttgJDzZb4UJEna4uF2Muh30HME83XqFdB5eyiZ28a2o9KwyYAg5+CsRaSeEB4wI7DSK5hhSCUKN9iSEpY/iyyrA1b/N378gdwgcRPdZtTzDh/qvvRbUnEom5moGa8C+/n3t45Yb4B27jTOs35xdHY+iNnK67caWsBFoINtRLXY89W2HDele52aYFdMDgayAhmeoYIDUed6lujM+NsamTTNDt1rRPHjTaor+50ORldchUrMM29nHiiF4yTOBII91faNl5dW8bza+YsnahZYt+W1s4Cr4aHigRbc9FXCmzjXQYIQeBObZOXp8LdCr4l52lrFuZJqQDxpxXxxcK5J0M1E9rkZU5ImP5hozM9WcZVGXyvzPxkMcr2z/qZRXlV2KiSmMv2rn3LozR8BuKNZtErD3w56rRDeC7+wLl16EOs4W20kcGTVe4oUuDjxf2T5JE82aBykE1Xu64T42C0F4iPU6DtVQJtDEp63NR7TsIzV6K20ueLTb5Sw6UEJu1GTusIZ9xUz0rUtMHzxNf1wZgLFFyf/YtUJHaIMdUnB/FkZHGvGRBNMyQPOlJTzJgXzNkNGoou7WDLjvIusjy/PPwFHXnLZGPscteWw1iWIlk8enP0sDwOk9WHICPr0g79FymjQSPORiu78ly+SjSZ2Au2kbs0DmizCIor8EERrSccokj1hFnr6C9yDMvkwAao+2Cfaf5byxs+pNr/MPOV/WSb+VqKOwNrf7sXkddmkEK4YTfzsWmkKyPBVZbuv/0/V9ZtWeDjUXe2mnN+Ht2t+jqOeg6vqM/IWqYmuPXnpdVISUI7XWMDEToq/G4NhyzhFrfpUqARm9oss6zNSE77GBxozRqICmHt7JwOGlF/6oOqtwhT/95g43Ip5ZoQt9567FGCmojqO8f438hFcI9cH7zc++v9Xw/borsAB2ONWxBSpVP0GN02ufWEUj0zAvCtoE96IRhJr094PEnUYBoiNny0jREw+9Iig+3LZ6O1mWe8QaM8ehp+ru2HCaHAypT4rhFvzIGvP6TnIu7fWHrH3jj8OXsgQgreeFurNP1SJzVWCj3Jt6N8dw6C6fWQ1AaJ+SNvxtOmpBHlQzgjY6ia3yJeyIK/wnhCnyl1tC2/wv3dAyQW0KRXJTLkhb6OFdliRTOKBajtWyOwpLQylrSmS3VBgCB+zCJi531DtR9PYflIi8rp6Nl2Z99ODCk1IR0moQrzeDHQxIEubCYRGqX3qLbryFZVgwDysF+MdyeF3rwF2g0/gN4dFntMdZhthCnNPrunMaFhL+wngPuk7fkSR8bSvrrpNlxZKXoUht45f0Wp9SfXHTt011YKjHzzTuNsly0n/ONTBhgR49+PSzbJENF7Wjm/UXTERmS4RNtAQ6QdnFUAIvBsMDImBsFCCdoZ2vq92HD4cXLldlwvn8epMfBDCjlI/6NmalcYC8QfBbtCb7iMQUza5Rbl++Cbmd0svtYqsag9AuB8ZjN+DLgZnE5MVzVyBpBupLztJxlhWwOuJpGlETsJUmwAftlt+PkKYzeDtHoupm+H+yphkNZba56nA6yVCTii3yu9uJXEV0bjtoRaoWEyfSlxjaCUASABNuijVvGAEO9JYcLtK8NRLTV508kWgjKU4yWfn3QwVcdYfu0wdKqdtsuhOUjvPEA//2TTY9k2Sv0F2WkA8wzC+r+atTM9GTuTqSk8fdNOl+ubYz6IwP6NHGHTBrC0TpdfUCeZFFt8uMDXHTucAjQk3HGkZMRoZUZSXI/3PiA812wCGN4aksYTZHoWIFgAGBwVn3G2CLGxyYEjswBJiQncWLCS08DiQ8830ulVPgsTd33tK1gO6piiNqRBqnDIDLy6uB4Y8dCV0mewfcO6cUJYyxNSFyys5wHQldYK88h4R4E1g6vSY9C0VZxKey1h0vnIi1G65jaARYVwjou44/ebYqz9tvYVK+px7i3O7L92pHxa7Ot2Da7B2TZ1+Rz9gtYICu4hQzt2cSC5/3cQSNSwaP2toRwdqhuhF4Ymn8UFAhTsz7GnK1jAZskHF+lDZUh4qhLGRPvlec5PlmaobmoS9rPQbiuFSFRyZD1enqdSRnZ4v/1z9yGPZjPA+3OtU6XvKQ7uiTU9QpLfY7TRfSKPXrSe0OzgVxC7tVnepj4LL5jpmn96r42s66EGA4eqo5m6hG1sUEmy6ZHvB3qIu7459Fs6sZr/jxwvkhNWpY51bdhJCxkiRtLgGUo80m8pWN46Ba3/YKkPXgEJeHqwo2u3xEcNwbNrIkvfe21mI0vYTZXWOLYKzw1zxYbSNFHyQ/a8nwGBFb5kwAutgYFHV0HLRZpzMUaBdfjzp3IaaDotnPezihekzuRKXjDGOhgGlYA8ckZSEmxR1/Z1inQte5GAOXYGzSRxY86QtJCE92d9IZISRwPnPc441Wod/fc5aVL0px4Dn1hhWRsRTh7l/Ki5OCAbXeq5Syfnw43ujxTsn4Sn1I7zY82Iw/VB/LA5gCll72NYWDfHwtweJRQw5uLnPg9qSSYyRplKi6JTnh6CaWKa6FneO9Qxc+926w0OroUnQsFn6AD43FS2d+7HVrljaOEpOi7sg3Db1DjUPz0H169LabSEPFuljL4mtkCsstbjAGkLbJZuqjAYesZ2XSkLUfOHOhBB6wc9KkuwTKFBApqAOd9Z9bJfxar6xluzrhsCtA98jBYcAFaHgrHOemdvnyTEPpWxm7Ihi9y4wI4InkGgEJuu6K/7yD2JthyJdGnFH+DP4469WxBhEErNh4ZRQm192nJP7WtrwvC+Z8JGvn6RZWcVa/NviB6lfAWrDb/u7Un39GzrLGAQcP0tTG9G9P5YKPk4Sag4LzR4I8sVI4q+QZcYNB0SCn+KOC7G0G4TG0rmCpFekMZBCd9ecFOEtWMPr/iAu7t/jP3+VIEKT2gZZ/H8d4E/GYD6DJBaBCbVA1dTQqesVXqyA8/o0uuoieJp2XMteZBnT5JlZYMJUD9XS+sWyZKnK4y+HrtNcCXInaKogkkLU9o3AgKkyNJP3M7swtX303ZHsmdl+x18notXh9ToEBQKXTuvVN7/sC392ymto/GSFlC8Ub7Ug9GVKCPMCeIb1KJzw3NIprkkemYC/Z3vbyyBpBaRaTjYPx1Mz+bWnrEJK57x2O+Hd0naTCpzYFyb/HF+vIWA7Di6XadDZsR2Qvm0Odvpsad/A+Q01pQBMGVTwPXJHmOD/rNTndSwLyP5wwUrtrQDe7ravzTkRlhYwGgx4rt0Fa+lLVUz2msIuyLJBiJ9u97XM5t0twXkQ+aa3eJAg+J4WjIa6j8sowxIpAIx8o1XWM8FRg1/3j6/XRquonm+CskaWle6Sqn/adauxJcPk2HpDGzqGDjibf+4jOCkU6rhAyxElCVky/E5KUXBthcDkI5zpzPnY2UDnVAVGrIFWZDtx79d20ykUQEYMW4iIsRI1VzReopghFNUItQOirMVzPGOkl/dzAsFPWwC5pajyy9/826ELVCyqrkixG4AxcfoNtcuvydEK0A7GJnypmw3o9QgQ6R9G5UcVmy14MLjGgexpEyJUv3Mii2vkKhXfIVAMXEHw1L17q4C7D80hTw1JVSv18VpVMTdEbWOQ+jQu7I+ipIyWUPwnud1v3iIb47XqKotKMASfahBQWpnnYUIP8MF8efmQzw+DNekcQbzEeQpHIqqV6ER9EPgALC6GbFObPAMZcgJT6XA+JRcExmlfgonkHcz9OE8XO5AALrqOPUR5DfNeXVh1xyzpPdDdQqn/p1iVOO5bNcWoj15Pt19jYWiv1q7IsGJ7fTV67y3gKRoOqGScGgt6xwVmMaAPG56rEPIcuRVCblIa7Oaknm7smIJPAa95UQ1eggeVq2KYuri4EOtQjGF73sPkuBzbLH7awXMhOLECE49skW8Wj2zDaUJsHtwC9gK1Bg/qxLCjuMugQCxIEeTk8ddms2f8y2CdFDpXg/tlUqUOAK/UlS1+aAbzMn/+/7ooDMM3/gblTOxOhM2l6aXoi3TrmgJzTkXlS9h5Uh+0wsnNUVx6rRZfJ7vf9IdNn3uSqHhGzDvIlDmpVc5sMjz7PSgEuQQPxbjVqNgkZl2ovVcAbROscNZr84suIsnT57oZqAmAkMrjqxXJXS6kX4HQDevdMPtS0YnhEhfzPpYIRwLU9ZRmoRNXcnQQ+uPAqN7Eibgkk4w47oFAWP6ALijFz9Rjw/tKDhR8kSn5aVSfseqksYh1k5ky1hLHYQblxY9SpwNknnTvxJQIU+6ndtSfljjZR+Bz+ERD71r6mmC9TT1oxuLypuMAi140i8fYOnC6h4deUOcNuOcWeB4XENLCDDgWPyPxUPqFG+08avzI2guikVb7JFaNry2CszjfxIemeI7d3+DeA5FMDi4el4Q/S79D8tP4I3HLsaeY7b9ZxEEBkCTDvOXXuLDbDA58uMmYTnY96QrQQV7ukBoRd+FvB0Dfmuhvqc0JxnlzX9AMA3IbiV/fOOPbMuqAYONkVTxaGe0ouEWzuodCm0IzaOaqO+wPZi79AGJTLabImfXBDAWYZAmr/cvyDngdPtRjHylnx+GdIwPyzqbss8ytvhhUh2JwIN+N1dTg1UU/xpkuN++uQvIDQuiMv67NsjXOwfeJ9a988Bgnylpjcmdv+Rbnbi32FSmzoim9/JRRwJbuhNViSVR/aOIVAQbTy+KyTXxlvGyhFzR5aAtgF6HowTkM8afE5k34+OxqBcHhup4RCjt7C3yN5M07K2XcsuRFMvfJ99wZYzK5C/4V+TuRpOhGh16cKdjdNhr5wHwr1GkbWjcqxI25vQjk0VdLSHtKkLJn5Rg6VFuSH0HvxZVd238fLwlEQeSLP/T0NOmPilW2Ds/BW/HTiviL2QFUHtd75RZ+RX13C1vTi9ZD0oI1IvyPETP7d8IvttGCaLePHS3XsgN/n2eaKgUsYDlXbV7OtpZm5ovIg4jYu9690SiYBwEo8oP6lT+ZaZkJGnva+prExa9ZskuINJSvBQAlBgJIo+Fa/zJBDM1Zz4QYDug8XPVYKebGtYGhh2qbdYE81oV1jB+K9SbYpy4qmr0asapszPqE7z/00MyJ4dNIIHwvpibfUzSSQxqmGsbKD5E3aFlvUB0nAd/FYYkbv/2bFHG8Qs6VTdY1RzuOmVnz7ReqYrcEnIs+Qjd96oVzHR3U1OCzJUG48rtUEhMRAh15shsCKUs9ne9hcdL6PYGKv8Rj1lX5d2xOHxNPMSsAbZlmRD6OQcPr1EmO3lQSB9dM4Nd8tJn616r/YhO5uW9vnm9pNA5OFaEhz6YOxJzfkWj8XlOZYOxSf8XDiZjntVqNLQNGdie5C5UhK40p1jny2fSALbnfzWhr5GMrZptugDgVfF5Qedy58mgu7shO359aMdAC69BgN51N6U77eLpH1JU0ow5OjROaLm3ChNGyqxSDCWmPGLdv5ux7sB/NSdRBqKiGT+gzfl1KdAKIPOe1wnfq5WrqbIueAwrcv0oQ4A0fMeTmo5mk9/oOk/u6pFeOpJtQtNnpIRs5zBa5TZUoPXHtmJT2ftS6nGAaHlyE2Awko+3Fgbq5iRsDyPwH8kXbKjU3XLcIRIHGfzH3nWFw1TML/Gstmq5GAGCMx6TKL/6Fp5yrggE9zv6CK0Kl/rJyrkYVG7yfsUqiwi2vvYF4VWbeCwJ+xuseyeHQzGs+x2KWxeLCHrSUFEVWD3FMqn8iaYPJbc7gZwwNHI+xiMGd7+N0aF2pph2MsPUdyFFIb97Gv3K0tym3fQM1EubkpAMlcb28ZUWEjOuWp95PYdivPoXTeD2t6TXiSGmN++w9m6Y8zSV8ht4MrckvZ6vesG7un1lhaZ8kYapwF4h6wENKbtDimQBKSWrmqhYJEQ6NuJ1+bydV1lsPbgcW6dfXoiq152104iupa35arepaWV0G+AlqA+5zWODPv0UsDOo8FPMs6SIkqeTpND7UjWtO5s3K1PZvSdjlwubqHQQCZkvO3ukSLluQq3uN2cn50PQOzea9+xYf/cOtc0W5c76mCfb/Tbog7ufm2B91MCTE4ebwF1mZEgB7hwB6QitoN+kMFfoXXtRSd65KGDdXtD4ir69pFBFKd7i63ivFlFNySylc6GM/CvBoz7sgzO0N68NCFOUYw/2/XJ+/YcB0GVjqcimjh4ppZgbWmCbeiIZ8cz4FIhHwHuYc+04RpLUkWuO3dUD/t9Glzu3cF/hoHel0PT5cwEjwghFV2nMbv5daAU3/tTrwYTuq37SjRr6gq9Nbxn79vzmVQH0/WbgftItMopvFSrqBDj9nHBarevYWFewM2zZwWsCjLCEL/go+Ox7hu4KoxgEWfKyWxFd5LWrf+RH7+9EMWdMzrbG9ONaUG/xaGmgk8yHYSjIUU6teESRwXUseiuvGBjYs7acoNxArqW3eHJk6oodF2nQaGVOAitaKOtQgXzJTdStOBXu9qpZ2MYmksn5T+T3zsAyz3JXhi8ypeeoZyWc4eswv9slsDHMoNwUp9ahLFZTeWiATfpLw7r9+eu+s78DTgFVMCOkUdin3m3ZeXGC1R2fyKHsVIgQgJWaXDzEvmGtwnBAK0Yg897BikahxZEP1clCHae0xou+buAbHCTXFJc0QxRnFR/O/4zba353VtDhiC9L8IO/9DPilE3JG9KCBIvDqSchNp4qqdNFokOxHjm9XAblsqUinlWngUwxEW30txV1fNWLQEtYLNbZAG4oVedckasqf/V9BtLEFPfV4x78ltnrbjB9RaHyOa0BWKpM3IX28l4lvZFRN6RrgHDEZpjz5pHsInsI74zYyK6w1YX3rEbtjOPqsjHw8HU8F9W8e6SLFMd1TPyFXAlQGzIFG10CfQnHajBwaU+3Rfd6yOmUj/Kph1squgCYo2ljuT4m2CMrOrTxilZUTwfA8Ow2Af5sNnSXbabd3QplQ63CdQ8Nu3InUHt8CZEcMwNGN2G9uJw+3PPZ8eMz8CH2kMta+b4jUsGz+0nba92ShCkdwCWN3nQaUXtFq1aKal9HQKV/fGmWTyiJgj7AY/UoYxO5zbicy4h/HNLSvJ4qmRRKIXgITujSh0S2iPakaY78EvabBIqbouoiDO8GEa+mffcqItwtHuJgintrKL2XL6baqEQ04lrElR80ociBlHtpa35xrtiTxQ+5DEznuM+fIDqJInIXbUlWcSY6n5OLgufCXitFlsEoJsC1wl8hcBCmN4Wdnp2XJsXSqhqt9b1xvxhSyqxpcfpWaRgjBShIq43jSbJwOwE+3nM74rmf1Jm+BKvKEs4wvgrrwIqZpsR4LzKYumPlQis2NJjZKSg5XpyruxeW3t0pG68+pjAbRzHu4J29Ujnj2XdbEdpq3GeHtFHyvLQqKH1m2laX+/Kc81EZA3qjwGtMrElOEtg/p5i9P4bHuPfruDpll1peuMpCqFxT6LrS/B79gKEUcdiOAvnoQENhg5Mrui4n1RpMuilLRo0WgwbojCgoYFCmDC3Ht4imstx5zc/+QCE7Sa3lqqlfoCtYD65PZkZT5DNlTYEbJU2SZQXgGK+nXykBfzr4JJKggZq2ohN1EoFN6UNGYGkwrN9LoN2yP4Gr2pOaj9u/OOgKHog640GttLcrHdUOfsrKZ9YA32NsNZe+0wmDamfoHMdjr6HcXh3qZgJHE9p1UuZj9WaQShaTDMpyKs1D5v6sAfJMQ4Rieu1plsaF2xlDsUqNScM+xRiQsfhOPhdSStXKNzPeH+NQScPT/0Gl/iD2dWHo/jt0eB/g3PpumqMigDwpTOXySdAZ3yreqf3cGYsOGZy7HxIHTV6+nOsdj/qhbXyTEnhYTw5cke8g55R67PpPSvsh+3wfSpGgSzuA2g611Tni+yT41t4YO/Sox3MxxM3inVBduAJkl+/qkaCCmPdka2u2I8O1KhH2nDAr0GdYVEBW8OvdmY4E8o9Q7Qond3BLgvsBLQoJIutE9gh134Jd3ELqsIWYwXC6py0TRuYyXBwZjyUe2p8FBkl/xy0H9ZqCEB7+CbAuIT14WDUQZqQFILnrDvdbT3op9L58Aulf0zWDgcXSbCicL3Ew+xrxtk2p6wk1JKWXJWftSb+kG8LeH5/b9evlTFmqT9CTFqMl/ZU1OhOq2YXEVFYVGo5vtYJKK3WSvwAGpv3UrEG3JrHFRKwySwmCxHIlbpjq1NMs9FmUIeD6dNAqBWq0WOyhR9E+KRvDn1uygo6O8q3v9DW1E10Ih4HWW5fRQXsiA1fKm+jMyyrUnoM4FrkbYorI94Tad1SlX7J/iOY4ifk2n6uHotAa02Py/TMPKx/wq9+ffVk9Z2WbXFpqxOtCJBVg6UR1hKrsN8xn/pJD1KyTH6XoNOF4k13LW5J3F0ELQvs2FhpqKG5ImKjDLtwl8+HW1nxg3+2akXWW3DTdYltFDCKS4hcDjsDKoUqODEEXBOSz2NjCGzP7/l26iOyCW7xzQ1kZxXYRk0QBsQmyDaU3Ctba9aJ12iG6nnm9QpcEOTtHKBRDnltmQLZRrsKVaN7rsUdiBGhiBX3n6YVUxNsh3C7rNXbVPYRnE2eYsxRMHl3Xp55/IDzdS4PliBFL15HQe92CXyPUO18zIxXJ3TVaWd41yBNRLvip4UjhziUtGPjXfSVV83S5Evhdsg7jSiJgMo5yKdC04+LR2DbCbsuLjXOokoEk/Ce52iO4Jz2NKsGO8xWSh7FoPpANeekQxuIgeef7HHFeqjkrpHNjWrLNyyF72NgKySx7a7bA0eCsqzt0ND3emRxY2zeuhM4yMOaEuOE6mBzdAlC3fpuCHsiAQMnHz4INhATM98c4uc/tSaxVI8MmRBy+CmoH1EmNy3sf1boMzG6al5Eh2vCZ3iOMVXRtoP4d16BUmHg9vupeIt60MFgJjVuCKfKZWy4bqU5vVPbD21SIHzGWc3zdOz6ZfnDT6wt7DDtZ5MoiiqYfSO1DJiASqgqn0lyaBxD7fH58LkS51DtmHL95vez+cWR21+AKTC7770F0MbNVuss7RNYfAPxOdHO/TnwVDPhH4r81RM3XL4RXCupVKJj1jvAxIAQRpwUrAxFFMiTvGXKnZBoZ1A2dxoEmkAz4CEctJ9JOaVQqdZnfXXBfsS+BRAzLjVABlCOfGdB9+xQloTzycYmx9loQbvvgzIKK5iLb3j6T2DCaoC7vyUe8mYhbR2zI/6al+DaKEEwD9SGm/zhBJUoK6quJ7Vu4dIChWTq5Wt/I/wXfyYuVJ2FxjaK0RcXrcdEUg0WPCSBLzQM9durDTLTG1Tw5fugREoKDGHAA8HA6ODHgVR0wqU+kxgVDt2VwMxdLuueFPq28VsnoUb1bXfAlLd0wzt7Maj81hNGs8GGWZeK/rvnQkAUayGwpILANdsGv6KnCg+iSo0th8kio3QBwA5sBeqL+OkFLDdX8HeKN3x1XvdL5ZYqA50W0CInCkWqf1NUGQ8bzVrlWQ7km+WRV1xsd+27ODh8NYggXrMcRXm88wXIaEOjTLzDULX+nwDejCQVFY5zznPWDRjW/kiofIlhOzFZ4LJKCkJpWodY7VygjvmJr6w9JHxdvHHS3MOSJ+ULqkTLyjln/5BREJ2Ow5BGiM0xf3xOCxlCBY6ioXoM4SgArmbp5PIsy+HKSqMJ/vrkad4sazAjaX8R+dJGJvF2ZOAV3qB4UEXb2Pc2VC+3eot15S2/kJX+jR+f86XLGWW8aQ0rh13AQsnHbAh0Hxp2nl1RVXxts7s3Nmx2u/Zt311GCfM1USh3Thw3z0L9AdGqn3CyYpDL0JwDBIS5yUOzUEEksA83Bwy9KRMvdQFqrSphTHDG5Wx+BKGeikbndjjATdYQqZnsqcP4d8+QgQ8Rexkm8D6M5zNf3FE8C9pKiXtSBDVe9Wh4eT3cKXUGKLI//iXCzDJwZht3TJOlrttAeX8OZIDKWTHIa+xSz1PXpd4m1Owh5LgfND99BU1HTXRe7Hj4upqChMu4hmPsVBJ87zDc7flHUUatki1pRVpd5MWBFU+NE0eUfOH0MEwn1aqVy5dJjwn1ouZ8OjXNU48FEM6uUWqxN/Qygr14rdqluwD1WbGrkm+7uMEg4OAc+IOqkwH+pE8VMf1G3evAz/FwhuzDNCdFzosCiya5dSA6ExUEURFJeyuhiEa5RMbrRKxfQscsMvgt3qg6VaL0EYizMjiOrasBJNzUbuyz+84IajTvAWSVhXfQNznhGEf4TYARLAEcoo78lT5S767AATjUzqmxo0fl2whij63mMCdLSa0eCgYx9fZhzkZAWn1sJbxLM34YgNhVdw/UY9rZjBaCIAhG6B/p0AMhQosNwVKF2UbGdD1TbOL/9F5iRIyk/nNY2NCovf0r/TQiGnCzOkNUHBRwHExqyFylQRBNUNMj7tSaoGOzSNCQPA9A9HOehBxTr8FC7ymvkypTTj0gggNt3MRu+dYLyuUpxwhmchF74m8796iPOR5M0M5DGvGAQk5i65TSljZmA809fHExTIO46pGAKsJFU+D+xCzoKylf9QMvenRNaSibUM/cYN5H6Wv0fL8lZGzbYGzE8jl6C6naHqxcD5qq6SQjWDMZfrI/LggBolsc0XDm1XtyGf6eP/qjhoLHxF0ixy/wMdW3QjkAdBevLlV1v9FGGl81QXgAzrbf5u2+EActS1N+MxUFlLoimjsNLwSoiCeE7rbRZEKA/lw7OVC+kI3W1X6b6wBqS11i0KchYuUHbASu0f7skWhvzIYXtg/af6/i+NspPIB3d6zDeMeE9RzuXXfBnr4DiM9It7534zXyRIhYG4T/uGkEnbPAcJG8Jt3xGLEE43Mm2NCGa97if/EnFhRb7AjL9LaPZUOuCZUJA3i98pYIsoTkhVkCQ73AxH20atjRL26Cw+ExsRY75Tj2+kR0s05I3ksYA4Bb2R9LQmokgFP99FAERBHVWW3Bly93Gcze5r5meUDFfS/bfaKJ8hWaBlAkLsI/bhtfSWULNpbqf2t+xqkOAah+WjK71GWqidOJux2DRnrbd8pcmkHnfshnsWMYSPJOZXoMX6W47BqEDLQeMzUqlJ0eH5WiskWCh1+BijqthI1I/JfAE2TT6JsK3JGrz45RpaNStVhPa2aVr8FLEU1z8vVrFTIo0nC6y6m8X6lQWFhWa1KhHQ5gKnJXahMeScesyFB85Rq+3QWACQpMYSb27QZPM0lOdFglmG3z1RxzJBdLEb4+jPyuFhSrufI/MDhjbdo5a/6tRImTbwEV4JBK3/c72XoJtp2JYzNjUZxVTzliCdvcC3PcF4jJHdVcG2bgPsMvr2MRfaM3wdbWg/woD1SR+mctPepZttSNBZB8MCUDnKmrcH8GSaTJN7tn4hUxUsPNkGkRc61U2JEYDdfEWSGoJEShuiV2NpOD+VRjUD6ULkZoh/2aTWXlNLAstmA1VZJMhjWdPRSHaGfMLpEgWSIrJVkGkt3ypck5SROJrMM1i9JjdRBkot2g2tTV1GzdO1ZBatZY/iuuY6+MZ4m/LRdr/Jq90xr2SOnafZaa+YdfUdu6egn+8PXfQITlQGFggbjqkdgW1DV8hZOErttcGOATlN975PnX+LwxVBa6LXYEBw036MtQjMB/i45fedB9HxviU1TGvinfEOJh1Ijj1dl8XvJGcqAudgZPfvZ9zOfHV90LMT9jkiozVSEtLtfuC1j/R8wDgKZziVdMc/GfP2BKWRv0Qq9UA/+pWoBP0m/vKNBlKyA/+/8oPzfNfbGtkfUy70JxUOkzZr4roCiJ0wOhpmUAhmazX3nOtK43TpJasCNOr6xbD98lSSFnRvCtXbSONQTuadwDGvWXSWOX3eEi+VOeX762rdCEkpRlC5iF3HJR+7PRAPvnnuNdykYbt5qyW4beiyhqBFLnY3UwJNJwKIpYi9ppuUi4fWBMwedNW6eHDBLwsKNuK0+YFKaslsyYkqGBk77mkJSloh2l17qXE1dR6ZZ6/Nbl8J0na1YloYtTgoDKEV9QQPcvizOQFdj5EqNQG1cuLUFOcs7MAT9lO96CgG7OsD0Auba+k7pxptmzbqDqv9AtQ5aQR2/3ckAMu/wcMsHiMZqOmOUJ57mYNAr4Y6+B61D234Q4LBzyrVRaT9DyPmIQy3FKQ9xTqlp88tLtHu7KX8hgk+DvBKB/JyLWfpI9VFIK0KnfrBxVxb0pY+KAWmt0x1zKPK8xMdJ/LxgiyEQ/wM4/0dxjGAe3WXF1Ble8JNQGEJpmsuBqWKNxUdLpS/+cXp49UnSSDqRgyk31Rdg9QoBq+et9Dv8J4ObgVl67pjWCgQrtHms19naz8/zH33foYx48moljjmbrm5g6QjxrK70lD/8EjzIrRLz1QnLHLpb3ad+7aTrgP9TDawK6pPTx4ZfFqDFsEmw0zPRDC28GAiaozrhGK4YRDc6393sMO/A2XeiTjdv4lPlcHXo7Nk7n/JWM1h12GJtneJgWwxaymDsaMIYQjEkyPDqgq1QZWaoqF564CowexgEVDr02JL6zshMNNGfxT6oxgkWVnKcZwNNT5RgO5aY4KaXsMGtVXb8Y+ULKbcIl3l6VgkbZr1y094P4dMpL3kzuztbSaUbruZYyjMuzeSoRVjzUIbRfzfnMr173u0MrafxKgKNQC9m1c0tYBEKqq2LUxlfqCJOB3wnBe78jocy3aqZjn57b5QNP6TkImOjo8fF6zuJ20Zja9YES81ztMFVabioJ9P6lIQ49tjEoiQ6m/gUzt2NehHF50Ii1rGWIXuI8Y1jE8JwceAYBK3U+dAv8C1xJARVZYBac7nFvsuEtXUKCeVbiTPiqZkaDqcCJVI7i3AVtu+bGMTuRKQY7rQ6jmiOKP9ARQ6iLz7uJd9YrpC1Cd+VJZCZgJCQoo2sVt1rHmwzvzOoLh+QYwUHQXV3fv56Lk3+qJ94RfPClGYakJnPzZyEjpcsnVDZG6zlF134XVYTR/OTWK2RwWSrQ27wFm8sIbirxgh0Ny2l/n20i0F2naTx54RbrEplohLeOeuungpmIfeCpEMqoqgjqmdsql7P3ni9u3/i6zvqzirErvG95poAmmGnDvMEso4OHkfB2QaW8/+DRvAjpYuEPV0SIIFApn6B+nxvR4uylQ58+pNRlALvx5BKvYzf8WpVMp4UgSdo3CDbcUZWkZZVoDn+S1AF7V5udYAuQZsn1sguMeFdk3pQNYBZgzggEqN9LGAzK1iLNK/Mh+yqp716d/fZ9Lfo1ISZ9zkwbFz04YSgmx9w+Hy0NRlMfqfb9UoXvFg3IGcWX6dD75nHKmFDn8zW/FhrMxI0WwWcYZYFOzN3FYDBeV/vP/Oub22Zo2JtXP4qCVZJzS5ZlSatn/XKeqfwlgFe3O7nuUY0W5vgrNsLKgKlNvONcJ11aWwOXKBjC+pR7W8xr/fjhpEE3xkO07JP+hq8zBZAeCoxn4oSGBBCLNEQnUtd3bGnBJH0+vKM2L6h28HKAR7kzXeIxla9bwyHXI9Dt16I9SYtGAGiQPswcX1amBpMd3eZLqMFf06BXqUAMpqrpKUdxBrYGkLtrl4QT4PHT1eEZhACqvhlyWHAR6IcL7w1ir+EtWYnWpPeEmgW19DjvpSstTU89D2SumkCOTg52wMzwq8HA+QTUDzPgdsrvPxvDJAjQSVaIwWiTI6pt9GAfEfrTGN8hCe9pEiLrT5xzPHuzMyrDv2TiLk4AXHjAmwrILQOg8NPnVtzak9VCB8ONYYIt3nRc5E2K2JqfZAsNCj7EJTY7Eh6CZS8R2bPJZSuV6DIR3oTwtVF5Lr0GOmUhxjEcUzgANGq/Hu1K1fTK7/S86uLzos8cdfgFw8ctc+lz6NUR8a+/7o5GVLtgFg3HwCZWkxOS8UyWSkMYh/8WiI4xo8boYmZ8gqW+1uXRMlF/E0VjpE2S7UjNbmjSgcEAVLMlIpy0zJzyevfTYs0wFVDtwIXT54XOb5JaDSA9a94qGKZ36aMhTap36SjE4Isxl9fJIhexfr2XC8iC7QjTnrlxHaGAEeEziJB0pNWMRqKg+rwWiMvdp2A+SFDwaBkwl+NyBRqvnDim0tv8DM2/iKJ38tc4aIBBikfB5t1zfK9mJDSAW7pMIH10nvoDXlCRMoH64ccLDFzEYt6KYFnQIDld+NuqFDKDwDpvPbdxPEWwc/Pph9OqUXKwhkId2nP9LIKARrikZ8fWOHIywS1Igln30lWrHwUMmKQRmixkK/x+4VcjBvGweVMSj1jjudodQ45dwfOtnEO8JiqSxcLGihjPdEPyXRQOY9P1cAJ1pBJlHNLSzviLFL68KbKyRxrRhR63u73gksq5WtrpB5D5Y3SeFEtwaDyWCnxdVhAAUYKCW67cSVD/OIRY7uVWmXomfE6nMCynWUzLj1B2wC+zecuXGW6QCgpXd7pwNWkCTgtbboyIPyKT8s/xYvO91oCVoyGPWT37vV6ZDHfCfr1+NCucKK5xXT+13PLJ1XDifgvMSxhKh3hOn7BxHG952HpOEQk1FNfoiw1QZt4JjUjvAo++E/w8PwmvdO9iivTcwKx7ZUEQNkDL8BHM9LYmIYiN4GChF0bxiHI1CZGAXpJoMWNlowbKntdKtSPj7fVZklHmbPCC0WxNHgTdTU0Tsd2M9eenjzik2cuzT+VhjHr8Rj5LVz2EOLve06aNkDVsySLG3H2RhHv10dtH8RQ1LeL1IiiV5Uz4/uLXdLMDMEzA9SSBlZiSAyTSWY4Zy0DFkfXvx18Z9f+zcRAOFU959HoZ8wGfLF/UUGUUCfwPiaj0tH9sdbVBoR2Kp+S3L6GS8u2gjg+LshaXRu/4V1wRUTRteekt2pgOnoRl706NqBQ8bWknKuONb3+2RukxmpnkEbhTrDAXa75mc+/8hvOGG8Zl+xtStlLQytNx1dyxMIMBC5IMBA6QYlgESfa5g+OIqcxGwe4jUYXYvmM+wnM34zTSTbYj1xMEzWZMYRsa/GeiZjsSesxyKvghNyfZHp+PH1/2Y5UaV+nX6FBZHyDcklONafpRWpYmJVzAHN9soJaq3YfMZPNcHaAzQYc4mDOdeZTyI9JqMWkuBhC1W0mPpxAoGkY5VxvJpiXV84K5NJy+Fy+mi5A7IQsYbkybAI+BCMEc7/Ndanoktyyq5hTnYbIP6oK2R9g3SBADccnfbDto+2k229Oi/h7cLgFnPthmTqc7oV90fPsOznipBqU3hQGOe7nzkGSJuNCp4MvYpnFNivRzwYjm9McFlHfwUbcqXRuL/XdemVwf/aTLzPjRxx7YAA1UgbtHMCb5POwPapFCOxb/DdnJNFEDckJNPQnWMTEiqZdJweScNWCIEZuZZmwNxY1AlHkz67rRdu3vM7lHsmIifZO4IHWcS4QBRd2cyaM9jKv5ua9zwvfZW2C1i5N6adXv7y4MT3MQJBrIQCw1ppCYZHC1Poqv4fpugcu4JmwzoIExhOe8Z3kv5fSzQFxqEUk2OZXHiL6BEep3dai7KyZftpyRlZ9hahhDIcrdVV43BJjM9Y3x6ixCwcZZoh1gsB0Q9XYWTt0fJwWhuKu8ueK40Elt8KWyyu+LupRKcggtbXNo32KhKjb+cdVpfTksxJ6z6JZjc3WAtOKEC8ZKmU5NbtX9zy9raEdWPh+3dvPySiTfV9S8UjNviWiVXv1EqEdlRuOjdfVyuV7K/UNGIsrQ59ZbAK0etCGJmef00tpVV4PmEZCyh33U+TXXbC3Ek4i1AyHgujNl64FrfH00jxHTASL2kQTfp/vk3s0OcXudt+IJWVwIToNJogkp4IfnGpz3B3ENn0/PYEDtZ+YokkNdrLOa+pwbk6QxXkDXJub2oT5SOkNCdFJXmg/4c6vPTncSpBbF9T2PtXpUmKUj4zstSe/Aw0EVSATRVF3gXwXm82WMJtdmQ0FA3Zs7wjpw/G/V8TBYC/6cLVezhkaWsDml8phzs9wwMAwFiZKtGdwTn/Azk0YVc2Ht70Ez7OCYF4qOplV6G5iKOyfDxKqK/y79pUG/bvqDrTKEAfHmZmSDCuMRnEunGxlvIVze1JFn5YgXfxiQUN+arB6XiXJuaurSIy/sS5RxQp0phFcGpeVd1MfmLzCkbrEvTwNOmrqbrvX51FwEkNotOpfEMM0wa84dZpp6gUfwXHnlkhN+YW2Cu+tDqWKVcqPkHz2cEB7S2qyeQ1YsvcPhTJ7cBeKDD/xavnjKzYvHR/58nQh4n3eag/RaSJ77HeFN92BBhX8Im8ZixGNyMUeuJGzG8A8PSjylHi1sZ++jDwcw8QfonKSMqwqro+5KNJ/R4h0cp/GIgFqknUMCfm92tuC3PlfedRkj55KSxfElSz4lYXWvRxER/cl4KH5s8yRqFMb8W4N2OqSK/nujS1u4iTG9WlS3CPt+WM86EfBxS1R2ptMpX+BVHYnQQsUFNZpvSvIelpbX6OQU4/Ph35mrMLHiSshWkFXfX/zatPb3GX+pxGL5T7Ta3ctHUiTnF6jpAzGY6vDVqQe1Y/gS/gaL6wFA7y6yK4m9Lhxf3vR7vj3/T02HRO/YF6QLoAp8LUEfb5ACqf0f8x11+HABGIqcVHV2/f8SZaFd17j18O71PBZv9y7GEFOP+zDVoljUEDNMqjyH8Qyl3JMaJ/WeV6iP738Kt6DwfDnu1+73nt94F1WKsXiHdFzofFS5uGcCcuLpz821IfC7Qrrv7Y5zTMToDBhscYeNWDmbpUXpRNHfntGeXl0uChCLMfcjL4PX3GvRorE7/B/gE03IAGu5J8AGVxV3FvM3CsR3BaFAmx4D2NrLQXowJ/OjBpAynywSyapIF4YFcCnAEIdQuCvLQSqqCxGXszvBQC0DE836EjagQSoVkXWH6POhWRd2zhd9FfNPBih+Dm1SJq5lAEvNRXpKjUxoyYBz2lXef3fp1dKSPaYZUKotaBqUNsBfH6IAzoQSNv6fRYX5yuxze/rVzPjCd2lLjx1TzsTfB4qrF5bVfnDWihYR4Q7X+ZPQHql8mjBqbVlOUqvhdvvTt0+9rfOE6qZ18H0GCY3TrnHpxdZF3BDkqww8ClZT2nEp5sLo5olN9I4n1T79daDwm6ZcX1hyx/LEtbQ8q4g8/VZYzkT0Ij5RrKu9XYkkS0F+ELZxLTbogIRXjZdD6YgO873sXWonkkG1ENS+oC04SzULJNsifCpMgfvgWUYdgfd8/1geGvkds9DyXPy54Es8lojkMHvy0ZzB6L+qSXbLzMJkrRDvMIYrnGE2sY/lohn7+yHrve9r157ZtNDsc5wsYrUOhEHOSwqIe20BfZMGs+25cksCGnbm9+wJDAFZnB4ZgVcMV3rk/qUYXgbzwOcqSYizrQ57WjC8SWDqB/Z2yYsJWbNzme0I3U07KsrHiJ4vw4We1JuIiTje6/N8DzNhm8ABed/GW/BxBPmcX3i4kurpLMKmzbvUf82noIGTTLKvqyWUB70d3Hd7MJ738eR/Pq0egrIbCZBk+GnNDNgZVu3WklW+8gtB40qWPhi8ni6gOsjZXRC0NZVSTfbvXFGuzQU0hvtFYBCs56oCqSCjNhDYt/UOtaeIcV2Yyq4WrfEORi2n11d0B9BTBae+ADRNDcpSWsBHXxenB/hejLnFuDdSwEdn3BYJwuAQtRpapELA5w+zZGyBqZtudg7KR9DJ2iX3+roxGPsqxq9VQFQvXiLhpgVuJVobJ0zuOof1sdwO+VwaQRn8OdJANM6ZytixJQyjYbdbGVfMRTSalmkahIYOTzV6wAyKlfKAAE/FgkKgVUz/NJiAjX6ZnelwrXvOMWQ7z24mEti9T4KNx5dCZWSPSViX4hCj39UezM0b+1rtOW5PBSuDW9xQWoina6PzOwy7BQUqmkBAxQTAIUVxAA1lVLnMBRJ2d5VLWuPN5v0+Zzn2SdVNmnbY3ktRHOx2505+pp+vJ2Wxnrl6IfkWzMNF/D3anfGP51XZq+2Q8yR0f40s4LOrHvmCoc4gx1EvayqCjAIVEba3WraLfLNSa1gmi+hfqsTzSc0hP1Lgu4nBI2ezAhE46M5TXtLO3479Ay85EZ9KoOrFJAH7X3N9W14QyL4AibriAIHEmSdiFyRA1Zs/fMuQtl6AcmHgnu+fQ6GTevaPeVEKhRuJkp8jOxSV0XirjIZO9Oa+AK2551NXRrNK61M9QKYo+HfBi9l5Va23Y7TVtDud+gjaLjcHqMzjB2ykpTGUzdOvJfGpeLffx2TziqzGKjejC+H/Dv2nTR2KTF64MkOFmMEFWBK0RbesdMCe2E3rvB0s4hNDYsYIo+IYPNw/ncdW9eEzyvXcqvcuQflVHvZmBbDM6z3TteD6GylqIRuTBtVrfroca1V9yGxyKb6Ks7u622idk4OMicmgCcTEKLFJ/svpxBimV9UC0skik2C5LMjKKNUl0tfb4xiA0R+a41pePA/Kgqg6oARoTgwL1NtX+uwE7Is7c77tndQ5gRi9AWZEBNUjR6Cqidulhevyvm/pfE589oV6zhfot2zdReHx1ExKSukWefmr9Cyq+a8X/Sm29CmMnWFWx/1twFA47TK2ZFXQ5vh93amgsRAq2UGiQo2E4NE67rRe/WhS6rqu8ST8SdEFa1/EHHEYfaOR5nnnAGPn3FdYYMQkX9ntjXLrsTVSRoOtX4jgBYAkjT1pwSDmqTNSUgCol4qFArRYi0UIajaU/4AMowCA96FDpm0ysAv9kXZtWwIYfkD/C0QS6D914OxYa3Ut8TSSVGydUUmOyvrHAy+WFmtJCyMKKbTAW+EPouCUUe4bpJ4OGT9B2I5C6U3qIpkDqQyrPNqDeBSvqu1y7UFMaBKbxpyQtKEXUj7q1UJRLefUlKXNT6lbD0n0e0dgPlswdBaQIQsPbXDEvG8YsrQmeIak0KMB8GEiYEvg8rh14XzMoUhm89qI2jd6AX3HJf/vGuc1Z/yRlMFljDlNcbGwgdfMaPRwVsoqtXIZJXey039TFd/SlPwPioXxOCdaQ0vby78iHZxXOssq8nw1sdRCcF8mBKu+fZ06NcbZGMCN08LsMVMuEEJX1mL4SMbJ5+AbPg4ruElyfy4P1OkmixO4InLfd8PEoXKPsq94qIdD65zi/T4qTm+o26zRvl6bWynqfm0/6FBs8zAaUcAaQ9RPFDaX6wftLmpGHZuZj23X2M/v8TBghtzzAHb/bBccfHm1xoeN7jYcNiOpEqHYQck4UqGXYL9HVfsEfdoMd0McqLrtGh9vVImkOs29/k8ntj3DQrO8vZMCVkCPEEBCvHhVZKTlzSoIZv5IClJvTwUPGTHLqdYqejMGFgtT3qLz+p3EcBD2duOYoduIHvTXMZTVH3U0Cei6piTXaS7J/aUmheBktUZ+LHQfl/+l0UY4NRCAFD69WyRjZhzZruQeBr4EoGMTJkA5MzxiDNshXQJSk3ucVULoSCAB2xPe2L/CbSNMLDgMUu76/wRMcpj8sQddT3cXZvSAPpw3iP2dqhPs8wE9lkc6TFSS8Unb9lXPmlJR1ld50W0qPPOXgLaqueg9ntCvmrroHWVsAStLQbn+L1eEa/yDi/OPn0MnU3euHJ1iPBLFJunWPBwKPXcFRn9bFubn9UVWOYWeWGztuLqVVZtQCVDT//pRurRjNqVW76vVUiRx3BH1KYFEbvvLev/gxCV6z73ZkFt+vUxmv/Ncm4jxHw/Sh7sCoM5q1h3azpmkVk1oagBbZjE9SLFJ+zpM9T1hBw4bBNc4Ki3OujjYnsuhz0NDz3yelemw2wgYwQAb8Ou12QSDq1IjXwQmRymitFDS96idrKUVYic7HPUFXyEivmXJKP0G/HgvejrieoEBv08bdLsddz0Mnu5tZka5oHKHqvow9dGfOndLkDBJ8uIotX6NyFrtM1npIHT5fGyFJUl04mbbW/GQF0TUFdjJuwktmkDGAFeqLgWI809349d1x7svwxbLxQFpktnpZsN41QGabbaN1bFCDQd8X6wlz1Kwx58Ak7QApG4Ubf0cVgmqWGInDwCogC42OBKgvSeRkVT1cDCH/1Q2KUhA1K7EXW60kmK4QQU2TzuzVHQOhgaKc3pc219yRcUtskjc0UAwQDjKykc4O54JiuWcHZZcKcGcVce5dSScuKooEPl797tkRyhGzZXw04F6UzEFSSaQ9MzZHkt2RM/2huHv+zhBKslzFrYeSTd/gx1LtpitAzRcgOXl31g19xjQ1/R7BWLYIHM2rNPKizZjALWGuqVQRLSySiIpkeoZuJXE9svvzzsvTvvVv4AkJYCd8uHA61ubYY9NP4CJFkkJfEHJheXXTdARo5wxoqs/eSxyXrunTdNmmZG9inkYQJf0GQ98myGtmKeQMt9NwN64wdKWE555yz69cQpXIT/7jREWxibCDwCQ3ea7IFZMxHOJrzh3rkGu2YR6dxiLCHimnav+YttRkaN4PoPoNBEUwx8Ksz0vbOGFVRxM17+Tp7WEOcpYuzGjgvfkRHHcnIROvF0JjECH0V5OL450Ushr5pf6WWf089HfJZuyIpPYHGpmnR+SFq1b3N5KcVsalhJijhVEm6y25hQmOgHE3TTA5JmPCgfthkTtEyVg6+u9+wjf7QNsatNwbonwS9mGmsPvbgrW3ocuZrKxxEfPua9gmqZyK5CJ/foGb7h5yXZacEg+mge0PIdctm36hXoHjqf7fqA3iFl44wvFtGGHU0KXWjBA7r44lQzgUOyteHGcWQoPp80fdtxpzfA2JY9M4Sw9scRBr3RzLU4/0XBqva9+wgOqb6j2rm3csKoakAqBWDg+XQALf1iLELGO4vip0QKucmQcL3q18RwTLxS6DbVKyKSKk/BnXzK4adtM7IuwbSTHfTSrRvD5qYLfMh+udNBQnzgITrdu70iMrtqriU0SvdEbLorG4h3vtTJzvAzw4G/c4gstYxKl4edRIBaf3k32Wc7uIRixNrepyw+nY0wEbBOJp86eXgrYgFcjLVBV34SxdsZ7KD6txTo9X0xdCjG65XhTxfF1qXWFUMxZzv5KTOkQYt7Dbws3NqAYkyvuFejFK00ye3AWCKoxfFGHabYpjdrW4pNAxqA2dCV9eGZUQyfykD3zduc+nNfQFXwI5oyYa3npUwyIKr3RYezq3a2hUodgyuU2bDL43xveBCWdavo+oqD35zXJQlEwSeJM43aRU/14fDrB02wlG3RFSgvkBDmv6qiDSZrtMn/KElHMPj7Ogh46hRXgwwJHM5PVZOz/eQbpD/8nhOVVOOAKKwM9+KdpfZ1UQwnu1p0S6bMPaDh9mm02OqZ2phKBrPKuPT50CXUlkBBQ6okEE5M9df1W+uZGaQEDhwssV2lRrS2Uu0ateOIB412VB64jFP42WBe+S+8QnnzqpiCsHzyuB/AYWYYRsd90qYPOgyKuJ1uCyQr+ap+SY1C/0VtPmIeN8Hbcjij/Z1HbjM3tNq6/UBDBSASTb01aCKInz7bqJG7d6SZFe71xKuveeLfFRCggW0HOcCkn8SzRNGj7VtRml4jBXENM6Gam3OwUdyQdD5UnrL3yhxZpGzmslQIPCk8ZlWqztxjbAQG0yCAiK3Qe8u74rLl9prMlqhoY/rlVeTktBjwCEnX2IV1BDHYWf+ursPmTHdoVoUA018uFJiKQ+cCUc8jrS8FObw/HgQU3afChJjN00g6bD9hwdSaxH639BF0Xv1vKYiKSyYbIFlIuGuW6KMEAX0WxwdG6fYwXS8/NitvYvuGHNgBiBYTb6nlr2vK4OlkSO/cOnFsnzhj4c6fbWnxj/Nw9NUbhyLP4kHpZlrz4vA4jOQfHoIM0/orEoDgKIz2paEv7Mqz9L28hMllDpMDa/Tz6Ln/0nhDkVwb6L59/6Xs2IWA9T0H0cfn07PhOjza4oPh44jwfx2iSWLqiRfFfpmK2FgQ2ZswIfMAV2NHM5dNXJ2ize4p+PQVNRAQDZRlwVJVgvAKJ20U2LntnpyUIHQbHJyCyjsccFsXSuidb5BTFyKHGrKb/KsBt3YxPhdcibS+JeiTk5JLCvhi+NJJ34JunNih219A7pTXbdHl82rshNLDhSeYGCf+Jeq4ddvbB+5mjjDa9V2Ks/be0L1t8KJrzxSebjF7J7L6VfEdgywp4QeQ916OOCHH0WfMW+KfeJjTekmKHKTwRRFkHA+fd3uAZXSqzmUTnjGlW/4yOkoD47Hs6pBoxYqUB1xEvj8kzXF9EY9B8I0mMBqbBR+s6r70KlBrXF598yan1yElOW3H3ik80evEXFvAJemcsLTjiaHnI6rF5rWgTx0JhTQsGXn9SzesHkGmO2xFv6hrcyA02aqdd7GdvWf8ZEG07mIT+dyQjnjTWJaT4fuS/9NJf3wN2ONuRd+07qLZ0fp7u0o7J89RZMRLAHb3p2q/v8k4ITvIhmQitMAKliprxdGt1+J6Fd1s3QXQtji01RU0yvd+XIjnPOOOEsvkvTrqdrej5czEpp9lSW02IV/i12xTl1R4vAzVDxnMlC0Rj4tk6YIqOZagXLrqME0g3VH9FK91eRMlqm2Y+TqKvvaelE/VBMec8LMz+G3LqoNm3RDnnSz2zbKdegfgqyVedoVPcq9JdYLYnTT9PFQO0rT6N5nVsAr5AmWrdbUh34dQSJAG7oPerG2tV67vN+T/gKtG9rq2euZVHMsz0jQIZVRMBs8W5+ElyeIBxuXd6b0XsJZb0YU0CHZmnxBfMUDyp1EsGK25715cfkNnabnsYsQaRZFjnli9QOgouDzGL+TAPc1/41mObHJLbRh49LLtrmsUDTDBtiD78o2k90ggF/lj14zlfNQ0G0zTHGusUGIuFnzagqRE7Mgp4fBvM7KX+EDSBeqwAStWIzYJUcxEMidCzGpNlEGVgTbDR/ZQRn07jV8Npn65kYSFldA+RdzRG0T83D3Jv5LO5YCYQ/fTQafZSYdJV4aotorT3PtA3fmyOTjt0E24SpES2DoR08gWHNIGHFzbsEBCmPlBGyGDI1QyJ0CRjaVK2B/K9fPL412apJgM8OoXCPnWTDoTQJJo2a9u3kt8EBJKZ/h5SQg84UtV3MJwMSWkruY8sG/TwZE/tS2gQUwY9AUOmg0CiGcobq4fBxrf5tHIyT4VXfDHVfX6XSembszZ+E54rl991c8l4YPQhQC0w7eLIoDeVZRqGu9hR6ge6GZPKXlMthb3cRuj92I5ul6udCig7OWtX6j1nctK/fCZqCdfF+BMFwen2ZDIuTbFKoHVRwBs2G6oPetatXHTiCH5tC2L837+3jVrlSJjMbsCKyyenLnwfeH7VNQSx9vyeBKtlA5aBCVOtPsI1a63/32jvKMmX7bmZtPrua+dcoYwU1qeDtbQrnzSnCLATLy1869uPzW70Gc/TE2oK5bsPwRXxpZZRhPrCySMYjNHdi1qqgcteIq5WhzbYbbDm787XXeSjbIr0fLboDiyv/iFN5a3vkDOCP8RkCttyEBikhjIAB9OYUg5fILv/Yx4pUlyUN+fkRcVeiQAYnbABp1aiRCxtQQN8c1xpGXjQWdk8OHtfDah6TQzox5LFuIsjUJJbQYiHr0tSsiL5mgeCKrC6oFCA3Q11VczieXBDQie98GT52PPG77aHVxywugqxbzUkfOvLZv5gTkdfOm44d2hzZ/YwdzaBn494PkRJA2ZT05IkUd2y6acCZ628jgq2qv477E56Ui9Uch1GJuBhLf14xFPX2sjqMujbFMiXsMefSdiCrPN7/X/qFLbD/RqDoucRq8ZDHnZL1ANquv8RY4n9vEq8cOD8Q83ET9x+B1foSMAosHzT9NSTZjBmZKJfuKYmWshGfJLHYtfSMQU1pyGmERC3YlEg0iOlYFMtX4vksIaSdSmlOETQvRiYXUucrjK0T6WCN2uRjwCWdMgr6dG5qQv+id1g4WkWWNLgpJ278Uba+yCe88ivcQljOzK2mmhiSz4mTLzm8Hp8hvkEp54BA9OE3foZHE6qUW7PzFNkTd8L84Pyg3+BM1pwCyMqtqnFVhGFqTOoxt7OFfEt/7pyYc/KFG2jDAtXgB9tL9pkXtbe1mOClZrP6715huu51To9AZ8PJL2fkSbpv+YvXNnjjMWOT2GFvXOUR0UsfIKxTotMl4DaHP+KRyP+OLhLCpoQbW1pZz7PuqP0xQ2sFg0miR9zIQ3GgEbgSjDme88HUY8gY/8rr9nzeow+Iguw//vSLUEdFRXgyaoTQmh9c9xI4ioIszivOJiLDUtxEbBgojCBH2O7zn/AHhM0U16U7GDHEzuPpdkRdQFFbRBuuu1h2VS+TwenjO7giOvvTvHT29aMG2BT+jerZFhvb9f2RwVee0aYgK/Vz9JOCxxOsECg01cvl2E0OYucjOkSZ3wCy6z57EINTfiC9HZHFr7SKmyU7XAGHRw0YrGZgC8dpzcX9Jbd8EDnexvbrySmOQ9N/0Xcv+G6oNbDYV+ewem7sFe0XMrzr8b6gK9P5UaQhmgn9t9ibKX67YEeIyW8UY8qFYl1wrtc/EkT44dR5eyqQxrxAz5gK3XfhEBD0lPcz67B4lk/Ljn5Qt69S+DfaVhvUrg6RvLa5p0b+1pTQAvCuIZ7TrfAUSiJXGDXvL5d/90LFfrA/Jd75XoLFhXr950EIB4s0rB8pYfzXlTVlWBRHCTp2dHU7gwpW8K65GMUglZn43zNRRDN1+Ug6Av2Sh0nkQgO42btMDFwidjCdXZm//aUo4CcqmpER5e1ofmdKhk0RvzR77YY9vbIScqif+1cKGMn1b29ehEs8Wb8DfcAwSJLhbcqBDJsKV2lv/u02OiMqnwgrpAysH0yIRKGWxNKCZpvFZMz2KU980hgQIaaiSlaRzZxLTBh+qtqhu+luNEx5OAIEAy/aO2YHinEGyNyxKs9u05OlsMt5OE1KDPKmfqT3uZKAoZcFxV8+TE4stWIqkIaEtP7M/AgioUrGH4/XjBDg26jT2tyeM6CYUO2tuND1ytgEfsYpIUOrwlJEQURR1vUJQZflWFCWjKnY5z5HlHF9nuzvP1Uo2Z+UATf8RpN/IoR+0jblmUreJ+uKWw/wLSP0hYJqDppsfL9kDILdxJidQNxtNIZCMiUDRSym/XYxaG015WzVPk9z2P3HA+HKxNzjB55NM0Neew8IUxhCC3MuxJSTREkqL0rC8xLLb+eXAldq0nsSbZr+YI9hZBvhXNif7sE6PHkYdlF1g/kNWtpbbp2pW9FL3VIgNhIzMjQoG7aVUnLGYevaxd5lgBB6PhBLpeN+55f5Nv7B26UieuOKkwgCMKiVjUX2HCqmaRzUkH9Nq38xqLjTMQGSmWPhligvApG38LMbXxn48cdue6vapP/XROTp6wV6bvI9mVIrNQrQUZ4uP+AwWpRiV3bPJFz52juSWtRFIG5KZyk7/6HsqzV82HonED7T13SCVXMiZaEOoKZmttjx/0d8NtxhhAmuvKFvd6o/jvmwQGjtu0JzkpIZfkd0xB75Ulka2YCJhnmDRHcUYtznilTYk+AwtoreAJKdQia+yTOYd44sK9IaY1ZbCnmN5utGIP9iCDQk9gnedxSW1akHz8ztBRQDHqoFEao3PMjGB+1HOUT7NQz/ErmIxdZRG3DkYkVe6EnOawnobG15rmQPjEy88bNvP9zyjwQp4dFfbcddFjVdWBlmSKvlTEnZFSN15KJLHkSkUT93Xyo5hMaNsjjTDG07bGUnwepHsdzi/gF/E9Ed/StTg9aopKqQSFLe/L9OsoeIBWZpQJvE32R2WH0Ly5bN/6Qje3CtpEFzijSboK0nE7APlVUzoXGLAGO0prXy9VZMtCyA9Nnkrs4PEdw1Z+JbBtWIoAnJkXfJksX8wzqLpCTzRPYjvstVkdSd/+NpZRSXzwCHoO62KoChviYxFCNdUM82T4cz3K1VPQE3Txt2HQ67Farp9FY30ja0Iu2/7pgctj6hYC5dJANxKVdGwDJtPNDUuj0y3L+EdXHcVFXGZxFgKVRhHbWKxHOV37QlOHCXU487JNl0c1UhaG31XAe4dnKT+rrc4uxJP3tZWOpBM5oM3+30BqCPZpm37adzqI+0SkxKY7cgF73BVPk9iQLIYRawpQZZxNWVH3eGJ/oDkjrQc9Bo48FyyFNrumILke17JA5Emqa+SHaFRjPt3b/ULVYnfb8KMaNlNkGOTnJHCFCUaa73z9RxgO8QBfbQf8MvWLpSsHsxQH/CqKw1IoCjkqZQ5kWTMnM5g2KdeJalb78/2lyKuaLBeQX5zBjHAo+QLU9crWAY2qkdRPDgtzUMnTyuuAWNkNul8UwKIGn7IWkwmRNEyk/go8mSqTge6k8+rC5Bk/R9qiopNQAfZzObTboCPzW94eoui7/jgZjlxxiaVqDRBU+1Y6cJ/76C+g4ZZ2U/U6uv05qlKGr/kOeczYM1PtN45bayXEoMcJOyYbXvHxHsVFwX/xOMlRGtC8LdXMGbandarYUyemeN7JculYHRXtmE/DwvFhb+0u6bwSKwxWX1ZlB7cpBgWDis2xwcS59DbCsLBWF37Z03p18C21UKZc/CZRq1ka1aGksCvQaxu4NMXGBhCkQAhf8cV3NvcM6EKPmBdNV8kZUoAEoRzcL8HMExSih63r0bD+h4SgDNotccu094UkftrlB9OTJZi23M84/C5Ev+DMV24bZGXd36thQ+1KB45PzNtQzqdIOrDY0fuXwFDk9gl4zdSVkyQvEj+JgqUPnTOGRQbiPlqR1uF3O07UVjvb9esVfe7PAIqGKCRmzOcsaVXdasQVGRHME49X8A+URQfLEOlHbRPfrkXnRqja5d3Nck1ZT/Gc6PZvOJbQZ1l+TOSnjdi669+J2D9H9eYxVHGmQfruVT4ktagzjB2ZrlkoNoAVkFzzWa64XpUZJfYAhyDG911YyW9UGbxeHo3TL4Vj3h4PshAtLlnLjBEMU+++leHsq1r8YkNr9yZ/WS180ZV4lKOXanAj10CWaqCkO3w5Aqo66xN5wOz0fxG2ClIAdOJZ4IMXK6Ev5VLVBG2/70smueM67972tT0Yc1dPeW4OdnmS6RvbdLhHACOJ6xAoiqkF/77QX+K9Fk0HwV6Phuy+D5icc133igsqpxxKJi3LvGjybcuarKM9Ula2nie7pbL6SMRqMbjj9EWRc2KzBb8D9p2z+xs4PrDccPSH69H+yjN6aZ+eVfQF4BXdGZ1SWN7A31EMLSlLQ4SgQBiaAVxude7T+9JDqHQv/CT1oWsW/Sr4/kKQTBhMwjqPGo4rudQU/R88F3N/njnMbSU/PYuAaZ0Gm5rD2t4WTcEKrYvCD9hqdBti/41d9og1E84JQE78W086by8kTsOhK/Htzl7FEwme4U/UveIl4+GAaZ37xs1w0rSfz5Lwrsw==">
            <a:extLst>
              <a:ext uri="{FF2B5EF4-FFF2-40B4-BE49-F238E27FC236}">
                <a16:creationId xmlns:a16="http://schemas.microsoft.com/office/drawing/2014/main" id="{8A193466-4B06-43F7-8FE0-39E7DE2F2F1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7746" y="1146601"/>
            <a:ext cx="2811502" cy="2159878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1" name="Retângulo 3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Cm9x2cjQpLS7YKbeEBw45E5ePiUfw89P/Q9iwX9+0QNgEkxA8/Q/RCkQgcGTDNL/43XKkNFXUr8hIFIaSTf+zKxec/viiTmWKoSzKf5j0aF2OGChu6vMnp4oAu1RVMI/aAyod8gO/3pjSJGdfmuru6iLAYvwYmNYP47mZtHg/zOJvLZViWjP57yQpxSy2iDQ9BQs4AT4K1+Ko8Xav3gBWwsENdvBrPe6SGK/HNtuEQzWIin3sZeFEWEm1n2AAiZHoW3t3YwPg0xuqpUsCd3mPxLp79R01O4m2cr7NFhKaurqmOveUSc96guyeOOS3uGgy+BT7zRiH2nqOvNOeao/t0VX4WBqeqw+eUB5Bef/Rj8fW2nG8jufm68atWLVDSUtQDDl7zFJEZlJIgRx2/FOdkg1OFZ2wTy3gCtQFdq3c+g2C+AIwRyrLoutRGwqRmWfIuYwVd4XNUzSop0rURzLXtb7Nvq4DqNUaCRlpVGT+BHSuQiRmWxcHlqQBWexr1EYyYYXLlWXdYvjN8Li5QHNWbctOltBq80QYXSc97OnJfdS85OWENPY7/O1EQNkTzGUWDKDIrmt4XyUg0z/ROo7wwi8mcRdcvthro7w0/BXAoWm9T0wQb6gVBZ45iMaUGPxOMl9kqzI3Pssy4lBDMWrVZcN9d38HlHBM1PM08SVg/zT8Ecnc39oTEzn9GVI67MQzW9y6F4/tC6ZX/NrhPkMGTFB+ssyBoylWcbWwG+f/GhvUUzVo8sgjimEzxZIx5acD1Z6sCj0DhLkdi4Q2hEdzR6gmUmlZ9PmLfrQ44Vd8dMAxWLPPnzDRdBcUs+HQEoNArHcOURZL1RR/NneMTJ85kmm3Vgr4xCw20xfz4zqKZy/IYBNi5pR13pQ+ENJm3U8aYssQU5Wvh1rOnzXEPb6dGgD68QKGu74VRLiUUms+MiCVUlY6zxl6yjx6cIGiFT1smZVU1T0FjRMLtwSzC8u9kW1JQHnEzX8LwpIxvsTk+E4HFodTtaglc8BlYoRLtDreD6Vvv0HKW6pf3S0T65K3Ewh1rCveasw79eFdNt2aSVLA+y9zzKQdyw2QdZ+p9DgbWshv10CF3vMUNPAMOcXcjr8H5xiveXPbgJA3cpNURDuj4XGXQFDu28FxkrKlIFh7jplw6iyr90f0Ab8YEMJiaxfH/Q6sYAbNTkww3cDn1ovgFMAaLs1oQfN2EjDNPizA/AJCxvo7SU6muxCrqVHBtyv5t3ELXjVKoYBFnoFuytwmEgqhbSNRYMYreSdWUzqZub1p/O00Dpb7ddhAGs9CiMZoF21Lfegg6vlek5gT/m1oDDs9D9HB/lnKF4YVihjBbivrozwhht/oM/5tii4i8xagX3WnfBxhzFpeF+DwWoC8UXsx3MPT5PDun1yukB6MxUHXQhbuPwtbM/FnDqc59kB5002g1iQceFJ8tXiE84V6c4yu9J1qu6BbllUTG6/rZ0ReZu66DYseRAC4YfyKTxmKuhnB1/zc76zpnc/gS/6J0Bl+Js8o1+YIOMK3LpB3oil4ZI4kNV6ouC5NiUutjW6ci9ZNUmWcqUVpzEl/ow2b2Vk8pDV09T2vyUNBysyr3TDV6LhK9a2KgJ0RPbWcGV9pPU5QISuFxSAgtE4HG2kRySYZuLW48y4e5/XZM711fyEB/yJgs9FXZvrn+DCv3zNqsmSNEA9seg7KK+PWALB9vFKUWY5hRYMDAqR3rIbVd0LZL7Myg3teb7DNtUX7cc4eZ7eh9UPaGF35UjXpgch4mqMx2MLl6051dRabUuRWw/T7aMaWgU1ngy3oa28cryAeejtQlOUHBhchMUB1A4YkInhCTph45vjfediGZ8biAmT0Tawl41+ZjWze2eXO6ohFYWPIRwNXmZH5aPrFGLlSxymt/ptpQRWz+VQ1cIgxJ9h3MSjoOeECgCuJfUIaG9jngcnVRI7dMOU8IvZJD/axys7S0N4xTvrlVaSTosNw6cA5N0B2KJ5oOC9iZYz3kjPzqaOAxDVZU2jYq87OUKz8VqF33S38yoDWZ+7b40j+24GpeE7SlXmcLiBUBO/CENV937Xjg2RG7xYiTjkTepbtqA6VMGRCB79dmAIEX4vFa8sy8x4gJ+RWHm/NLEU7DtFqLpeEh7Pg5RCxsco2zaDCFq5lYacqEpn1QcRTeGjhbk2hgZNDMD/hzUmN1e5g/JziEKIUhN1ApPrhieM4xMVdPjNLTrVQm/FJOqnyjr6gElPUeCFt0lpmTuFVjQWN0N6+xW8CQkWFjUo2REKsdMac+5FyPtRS9aYtQvg09hKAjzEaHqJN5gsOLaqQL7gPpTUFkPHJM/iDCjlhusftLDh3js09bhPHWCVR+ZPqAAxthq1rFLQZ/LLVi77A2BcvOigLYCsszIqu32SQkYnztXHr4MBpgew0cpr6zSL4Pk4JL65bX+qaA1bMF684qDJY+QkeMLUzRWEW3mTI+CAMcHvrZ/ODAKlvxeYynwOuIYskgd8zkKkbXVjnAqFG271wwx4dUACFDwmbW3aWpGQAfkM4G9P/fhveYD0n2wiPIMGY4fYPyiomDDgOCexwjc+Vn152LeyAY2ImX98XXtOB7+1u4KMC9f/bNujbN8Qrhb1jOSZUgUYzBmSpPyv6fGHGHG4WXs17P35BoQj/yzAfXu8SVQh6SAfr+c1ReJQfBvq6BZu7O2OoJ28ApsiDjxWtM6KVfejJNIhB7eriHOWwlZs2JGbrRDmBFLepjYAgiumVTL3JPPENqhWE6pNFzJ7f6sThVlpYK8vOKOvnnX2QO/K9sSQWMN+QTMLgTKItwbeayxOi16PhEfi8pbT8u9rLzTtYDOebF8e/fEra9pzuVp3ACNudqdqbgKHTCYjqLCi0LFyVdwMut2LkO/J1re+XH+rTemMy46tponqIKLkYbJQaGjXInp1GbFmueENEwPKqTNiXmFSjYLqgiU4xZFdfepRK6d/XMiDRgus+wzYFboELyeoBH1dByMyJSxzzmNjEoRatBeLt0RrmFzRQZoxyVzd4CgMVa0x2h6OUFtt5vDc85R5+X6Yv91Mr92pnCKNKT30Y5+gHnZwSJMn4eM1tOZ9/0UzBnD7kexJrKT4DZEg3QAXRLdwfAZzh6z7dv9IvEiTxGIDzaEm0qol7lBJ+Ag0G/yBdQQaMxzltCrOkUn+XEqborB3hG+rMaRj9AQtP6euxkK8OdZ2qvcSGZfeVqHLbFoxRzuiePEKLIwEwAaKEVHJazYE3sWuL6fiQUhkRdTkXdysP+3WpEcmrU8gGVxaQU6QR033BIZUKo+PYpRrGiM53zI9RtAFhmgTl9vV+iadWNY2xH2KyClDkL923zba+2TGmUJEAgyil8q1JgsBnKZVvZrKxb+wXcVqEHF2WgLVoDChbU+qopwmb4tXdul/nhEo/jfjigLNwifyO/BXNa3rGxJdGXhYtRknUjZrjdu7elE1PocGT8ed3dz6vX4Zazg6aHhWMMPTgw0/2vTX2kMUomQ6AfvYiXhHw8p5KpgS66Mv5th/wmpQx7AB4wlOsN/Us1hjKedAavVbnNOl4m7QtCDv1lpzNshRvqLiiysbh1ZQFyoowACJ3YRImfTEPtKOgrPins7XerdcoosoRLJ788UWCLPFpKuCWFeGK8nuG9LS/zOWXNSGHcKFyiDuN2DgkTG1DmNtTE/Ilu+aqZbN7lX5uULBBUPb+0FwFgtHkxTZ/BaKugciox5PN10oSniHAc2UYrnq6rdKL/BNdZ4EuHuAiTbGa1uWk+Q1uYLwK4qE6iYWm4WGX6l7vl30MQn673besRmOE4lriVFwt2J7HVB4sDlqcRgc7VRtff7PjYBtA+extm+Ji/KY5CMUpKh7A+89RcO7GkX5cjlVFUJY7a3nPPGYfMLcyjPMyesFoo3QnIDsWQPEAXAua8J9RWl4Xy5c/RqF1MMg2HV72KXYyQVIUc4owy3UsSlr7dW+Rsr/S92qVKRmP+Zuo3xLeBBSPRroaEMXR1Ks2tw5pGE+Bi4eYrpFVoqdFDs17KuiXq7+c8Uk5oQfDzcaKIEknnmtix78YZQyjrW295K9rrruFbXHYtBFO9kNulIjiT53PPEkr5hFk6yXCqINoNwr9nw201cNcgjQll4nM2ZpNFbaAgKjXRN2lOJXOQTxZkHjYzAH7z9JvYRCFkp1t4IcjxCxY6WDwDVHBCi3SnE50dhT3hsk8f/19ZqTQRi4TL6Gmn+m7jmhPZREk/ucB2eEQhEC6wP0bDmhi0lA6/yvh7rv01haE+n1/ppYeRO4sf7hontSv73CZ1sQkA88CBm2tATHbRSQOOOFYFyr5rj1GPqzEkzTEnIME14Tf9GKqzbhvO//TD73Q5PkRkj8wolCiE8AkAWLSFl2RiF7GjLeE5JyNE8USEPw5mfOER1Yj6IPJGA7F7Qx8NeCqKJWgJtkmhGkGgsBDNWZlansR1dxCbDByXBgJjR3MvhUeReLfdSS66xVZgN66O3r+wr1jU7JJHaxgl9PYzkihd5RZY1XnXqcWhgjd/r+ObejZ7slJHkPfcMLVYkXoCdkAn0ZhvpZYU8AJBguN+vAS9Jlc7uh8T/wvjHIKr50GxadFg/ZEmQya8f1+AKZBVR8OBs4cXRHy/WwQAtpC+GP9JrhYQGOmwcQmS9hKc7k/NEloh1HGbplHrwaUjxY/i1QAaZqDMXQsYAcxoUHQik4n8GLSaUfZ/SV6e4gJFG3gSJa77D3/qvEMMKHosNghnR1PHPIdZ63i41anwbae1905I28NoG1LGfJVtjwDQvlCW/Gi2HeRmrfChYv5bpnqs0BoBaorTXMxIUSC1tXm6Ekvs4UKw7dskrPXPV//4EgsmOIamuOFl1rIqI+Jc/k67PCBJY9HrB49duWoax6YJ0pyhS6s7JLRjwkr/27sTUZkEHVaduQAyAhZc3MaNQrVm12uj5d7++dstZue28juIXM6lIdBZXR1LX+HtAYDJ5HvlMD6oKo2xboHLoQ+2o/oR56grVuk6Dd7rnI1EX8e2d9h+cSwMPi/9DLPFyofGGp6Ktdpv38+syjMG2VqqGo1E044/3ky3V4dizxEDYIGSC7cwq0UddfV3kk4tEuNyNnsM8KFN1F5ZAdy1ivbmU9OjvaYWZ3hhDkU7LPzLwM1TwJjMnAYnCPJKTpskoopPnVvrX8+riKK/hlGt5lB04hdZ2iU7Rly0+k1Pg4JLYIEFuks1eRw3GTXs8aS3QM9gTFWDlD8GusKl/DFFNLlRFzcR/IEb0sDnPF3F76cVNlqF8gwjKalOoua1+4gbSA50QVwE/itU0jPvpGdP5TMeKYww1OomT0zMSwlIu9LE4WH1udh/G+lykvTrP8uknFQpgFHrt/Mp3PpD9oIEMF8G792BXOVeQqY8foV1x3AxSEgqfNzymItDt7Ui5hsbtlMLCwTYfM612tkvUUaatqvtXrpLRRaHAwOHCrI9Ea2ZKMd8sHLY4+bzY2+VSkuMyyq2vLo3JJ9Kw9DwwwoVARUipi7J5stuvA98088Yk3R76ed/U/WF4L/Js6m4n6u7vG2aoD9CtL7Pq6jk0ZYmwF+i7D3bBNxkhWleQrSDikwWtFaDqpM2/2WwAJUQn8UUdSwTK2cpY48P9X5Q71UKf7hwXXGz2IW0vs1YlElzwRk3K8B8S57twUHQ7STjwq0qGBmsq0J5dlI2k+YwqI3JKbtPq1Qm0NScasx42jXHcJVcF7yJNVDJwk3o/hoBS0vZ4jaKDz3HOkANxtE2gCET+25D1H56USjwkBR0Q/7UKjBSxE8IYBG0y1Y5L2Vq74bDp2bbDHLHoINYfjDBconxBOfV6bAc+Raobb7j1hgq5aj39WoJcq3BCrJ0r1/c1lzNh5wFJJsoFsXf02xZTs9gE9JhedicPDGTJqqj70I8/WVwY4W5RNkXNUBQmGt3Flvk1XAGdBIAfkF4c5E1gDquh6eAsA5F6ySn+YLi7ParFN6bahDEho0WdP5svm0LZJPehPpytHvBseoSEOabFFwZwZuk0mKn3uFUM1taffIZ3MdjbmG+yxW9joNufrO4FDBZ+Rbaua5iJLhWVevPZFzBHwJ5IRAoAw+FqVBLp2KAGLALuHFCBahWm3AKT0bc/9u9eHMjFfvKFbtfFZFkBfdeVU8shaC+U9A31VAK9wkiZmjx6ErcuEs7tzZnVywgVuER/3OfmxSB524OmIwxWsPkiAYooFDzhCthqOgqntChxzkgvJNpXJv4q56EeMUOqR1Qz2LX20dDcOv4uqQMR4s9yazWgtNXW11p78TySS06QOTcntIJSifk8SYuAWyD0ySx5er6Sn8EK0JQ42IgYXhqp6voUL70L9ov4FXLF50XI9xDZ6wwOtDb4LGbwHNcE57aSVD3kOlGkeEob0zS6zIWWXrKWdbac9T6Dxg/xrzdxVSmer118V4oqWVCM/lwMl2/+aWdOXQoCZw/hhzkLH5STrequC3//q8Z9GovumNv5v/wxooEDQbE8wnp5226Py2R8cxbzXgI0l1WKqZxYWXhlQmNQGz8vUR2a0VulHBrRdf+NcK7NhNycHDO+OKOExHJ40kDXHUd9URzTVi1aCfVuzOjxnEca1LjrKk2RdCYwQFDt2QiDD5XxoYlMycMeiXKFz8uPHdwZEjJlrJrSn9VnY8G1GRRzZocGTp/VMlAs7or7qpC6H3Y43gZVVelCourzCHH8UbtnsSuOna8hnANP+Y3fxMGIloX4AUoWaTKfgMwu8D+staG+ivF/W5nqJ4UddgUAhb/fxpNG07MYGeCKiKXfbw0sA6uweLh6KcDS3pmM4TkZiYh18odIuZzAK6eUpxyucQBYj83b6L6au7ej6bvSCo0PPXgIloqpjXfMxb518QlFarqadNkE4S7OXPYZSRpeP8/s0cH4pfiGyo3LCnIdthXrUNd858lnF1j9kZyJjn7ftPePeOi837UpVIIVY/r0DdZgdt6CEBDlOo2bbuRGFDItmL9827jUpPjqiVB+eoaigIMllLWfiY1+Amsf1lek99leW9t8g6Za1CkxJHEw4Cob0EDVn+T9oLiEoLrEZE0DCkUMPreGRZU66H7LwrVyuyQv7zl+L16S7cRnSt7fWgtpW4tdaHPyeAdl2eEiqAVUwE2hVkfApHRSsU9l8kXIKkGLK3ut3S83zkWl+BcAui0IQpruKBIJFeAngngX6la/2aga9MJIAcrr+5snk1w3qVrQ3a/h19CuDHGQGRDxhfEBz6ZHBK19NZEoJpxQbDNkVVq4iFGvKsXXYzCeS6vE4ufsFK7GGxSWk3zHJ6cQnXwUT99ZyyFX4HoOdsXIcnMp+YEfXHhyU4Q/CpqxnqWXu3rhkp58/KfLozNq+uAoDhpImADncWTl++2CgyheN+pAznO0Yu0dr4GUUZoPyT1pU19botrye0d98vNWiA8/ARTtMnMhvbYK2Nw9FtGlH2WgwkTUPXnfM/BOKBLE+6yfBLZvxkipwQutH+dD2iC49I+dFtruAJ2hboco1S6zFY+xiKNWvzHvblLzSk2dFhDO6Xi5GtPScs9dexrZ+/unrOcwupQ2HbXfotvEhYsRnny8jVdLI1cx8kazin7aQd7X/x2XRVQUwXymazx7SZ/1w0LZk+oQrBjoELYjcrl1E6vHwP2bh2yQ2E6iATmI0n70oiTq7lQ8D7m/f7e26RLnhhAJ+U6W/jdIQ2mrXaAVZZpKbXGOdZUX+oWq/Rd/u+fi8ffRMPTSe9k4o3NIh608pzVclKF5l3/6IPjllYSf5KRCdyOCE/lpxNbBKUse/u+weXZI/hmjdEzu1lpJgpRuFUpICR6qkPRqwMKbzYKqwdxroCBV5bUzehGXjYMJn4L5+3MAMRv5F/e9NFoxKzttebk3RVUrh8KEvPsQmb4eHk/AnsPnMwkhuOuq0kUnno33tZ3tUlb5JMAY6adgfBwwJD3MXsV+JUCLuK+msNBbXOM+MTQe5+B9tukYFV7xe0k47AWuKXe10fs5A8luMF7VK1hJtf9+I79Cs71kZSpzGQGeH8/N0Z7QfbrzJ4whbGvuOdWnyrfK1G95WQjvalJ5OmFYahYtsKhqnxEBdZWIWJYmD9YS7StrOEPlKQIcWDwr6mDDLWYFgpbvn0ERBZhP6FhWGZi+fQBWF+oQVZhqMLEo+R89rBBBAjr+f/cbefAOdFjQwSE1OdOBlfbIZ1m1u16BFtXwcfHyDKEXRxJuEXPl2YAju/njn4a6a48uN3Tm/aU4NthxArMCAOw09Rwy3NagwQ/l/zZE6kv7T1Tm3xtRiAI8pYEquJ37HdijNq4ph4oPJaiOtHYy90jZoyet+09R9GWOj0r0FQGiDsaS6a4iDqSqig+EGXu+CX7wU5Q6CmEPHGvuPdg1r0bEcNnHG/Kge87Vfw8HIeK5VEX5cW4xVO4ohmK6hXvc14C62JTKefc6JSrJY/6NYrLWwivN14k9OcsOiKx8vzGyrjq3VwUu3mWLm4spJ5WybzaWVDCj/cN7u/3fVmEKeaRnMVBescwAdfIs6yl5TkhHp5aoE2dhRQOKZ4sqhU9BIyF9DqZxODa21JegyDolQrvzAD2jXxXje+XxFJOo6DY9X9/RPEfaDjfQyjZoCum66Q1guJiIT5qP1AVygMtNJ/qwtwFPaBHPOEjjOo8+yhe/NGbBCf0XQVfTliq9vs6qactKaTYnRr5ek+Oalpok35AaBWU5gZ3w0+ld1BFruXaCzDRo4sPz/6/TbEIdbmzMruhELsqPKgkMEePJwWnIhMsqrtUsV1mo3K5Cez9zKKjpibBG/YCNGbdnofQdqqeudvIIO8IBmt433mpReqZGJ2PVsoxUNwlf8tbvOC+29GvD59gWMtELf4sWMp4lWSu/ALC/9vdtbcjVEasncfULJTxtWB97mvfP5pK1KECCwOk4lsvoNVKtHnmZ6jm6b7s87cJ831IE/+1xnRs3yTk404lkU01S8DgDo7tMbHdz5j+0Vwp+rY34MdentFIobOZKb6y2srlZISMsSR8ktbFWyZ0dSfoqIDNKFjNlxrMWzLRgB8bT/1Bfk1yGyOWTFsFDKXv+zIHpNacDGixXf495UcTUj7MyI9FjNLwhvwfQSDLhTDRt1GOC95p4VSI9M2NqXx994k6TXSYMGCECCzcKzLeAiu9zmDP+EVyqn1HuwXS584VLne3uXLMglM1Mp36Q0JocIhTavkkSmsT2pyA5v7qEHiau6dlnpQ8Ng/7x68dapEYo+Yaq0Azd9m/WL4MvNDX29qi7u4HJcGvleJgw8AZgw2lkoHdDpnFZc+4jXbUgDBY8Ru3WFirIdej5/Lboe4e5rsKPL0k+Sxzpx0EhiDe79SJIlxD4TXBCvWpYKLJV+vZMgzr6X0ZRFRreHGAFL0x7umskSBBQ+Ox8vLrfO4Uinf4ggrzWtQItL/74aaUKwdpbUBCA+Y5IR3rUulgRUr9eOQbQ73ave+neXvSLm+LtHDU0wMCd05OXTqmaVhcAtPUlQaodNjn9bOVVAxGilTtBEXKUdxJaNoY+tiBdeqq4NA59tFSNuxPzFVSH7purANBio5RTN2TZZuY3JfXtPBNkvOGQqOMkNcVRQSqEVf4l5WfIStySA718L33UzpQQ8Ey9CafjFGl/QUNzrZgeh1E4U5erFVWubl/0qOfvOJkP2utCQ6MLDPYTcbluk3d0XzqS6paIksO1ivYSUTpTnBWLU8MKBJywRU+hAdaHvqs2z7vxNVOxR19u1kkJFsBdJwTTqPo/cCxG8aFBCKz3+cKgcF2Ju7X06YIkd2QCxdmWBBXHqqCQQoLh0EAnQjw//ndBOxtTHdTvfiXOUyjbe0rK3XeBPZYq53M02S7OnvUNxdMSx0S1t6w+xxEjdNk+Sx6nVvrG5dU2kJZ3ZyY4VBwRTYMlfFDTJL71r6q0CET4aLOeqY23Wy8C6xkl4idbH2DUKTfW7jPGGUo7TZHH0WtNM/8X33ua/9Y5Tu6mrrnWfgXV2VL/8BM9QkW3f5yDlb4715bWTA6M/zCneVEXeuiRhBbR3XH0rEOb9xvbrLziL+W1j/vf1+ZKbL0qSKSmUUEFlJ1jc+UOPpJVyNXC+EZ7UVlqVMEj507jxE/LzXw0qboGyIMMTVT47hkmMuvK78TjkimOGgliXw6m+qArkvrwgdC2uwuC71CK7RMMzGKRCavIi/WytEwJgigWVTkoXQIqC7IyECMNbFWbAL2tVniWRsI+NGKzXz6LU0h3bB81yF9gkxkFmT1cUF5fE73aQnl/EPvMF0sv0GkNRbhJNXdMZHCGfa6kfO1zvuMS8nd5ZfxX5mjQBinWEV7xgtrfehJXOae00KT6joX6NsOoEmpWYLsd/kep4WuIzUmOyJq5yUAE3v0MLs/onn6SLeSQOlgsXxg5vWGgUMYgldXoK/m1+bqwIRhmQ3/0X2y/SfAeII0poAUqZrKVTLsg6R9XaoiQyDMT8yR4O5dFSCxjk3CzK/3PJDSgi8afxeO7HvinTzIhKgPsY0+3ALgObkzDAVkj7Eptd77cUxNXAlEmVyTEHENRxYuYad1teo+sUdfTJsIZ148Knup6+9oEp/hHhVP7YIvlAPA1dyxnTg5B6CNYDiehMWwbcWBEJNHAf6i65LEwztSRfjKwTYPyTBlHRaEfPImKE3ogxeXcgYr/job82cCl0RSytcBk/JOpa0js8wfgqsz1tgJHxo75EZqWnQ6lbkAWsRkq6SYxiF+ZXChF2zPn72QVqlb8WWzF0S9C4EzmtOOBIZD7BfcfPgMtSs3LfSo3VFHsP52VN0jjzz+L02DJpr7Lxr5qrO6fzhVMC1Un2LC7Jhi/2ot0sN9TD6FnKQX3CpfycE49DudpcbUNBu6IhLNAmFFOdjXSlW8niQQHpVAirE1I3IvMdhA7Y2ncjMCq2PzLx2Mkao4zaloKPHPibVCDWKLf518LoOtWnwhzpDWDiX/5VS6Gcp0CAHp5z3G00l3akVFpmBy2hK+z14JNZIbc418XXjRchM+ES2AfldoRBGcE+2HFHzGf0ooxn/mfCMDgLmCg4J+0j8uMS6sF5L1k9mlimVgtdVyH3QfxbCrmfoNFF3eF5fKe3Ae0k0Kl7gL0hoq27c4ItNZABFYxExjXrMkr61+L1seF4C8k5Hd0yBY1fJE25c5gj5hvcSluBqSMyWLw0ynixHayjbhHHd1r0Rb8Rlf82EsFKi0xYDii/gDwFjWNAs1zHIw0S3CKsmOSydjqkCVftnISndNeLtEtw3QB6zlC6DrOrUT7GMI+TeHk9U2/wfoMfixI9c8HttmUcpBO23w/uif5lFkQcLIkWNia3q/O1x+/ALndqG60rC9WIn0LkHMzFQCDmGJ+43KdVl02s2O4RxxvQmalitgysBR7dyoP43fprc0c12/tz4NofSmthcvH4T0XCe6Lri4bITumNPJrK8uohWCLwshE/2lEDY0S5Dsj/pTVtk07HyNS8fB3IK8wFMf4ZgaaVrB7ZiR2939rIF19Z8npjyvOqzxaGsnxVvXVKVlrlo5X06k0837KPQwvtT7ZXGTlFD6MJR9KjRFPxTyQO0M20zpvtx6HwSqtngQX+i8RwLkLs6kuC+LW+7NfFEm/McZsAoCvPxsHl+nUi+5/45HNExhYF+iO1/BcL/q/4ZRwdftI2M4LxQql58WYVI7qJBWPKAbVmqQMZhcZeR12JwkuNX+WYIW0XV9IzRBQFU5XoLdYF60oIcRI5Rg9KHaVYGkdzKEZSyvVUpbOO4Wi1XTODyX8s+xG+CEdtw2nO7E6K5+Xz8+p6UiNoviepegY9iV6kJPJJwIWvMSrykReHHqwmmDr86AB70tcToAPUs644SsIEmHyULci/lY6jU1qY/00mAnmJ88/1+AvzPjt/7e4mDHPVJoR+iHOpz3RcYrineKT34XNsfSZbdz7s/h2ETaYmM9OC16mscHalmT22XBJBlKHmPMQ70n6yyA5NVvLF6p9uakpbFURO/Ck5V2CdoToRjcs1j+AYXhQXjt8Q1BnpWgzsExaY5eoACGWW+EeireKj/88rgoq2KejYPMHJE1aBvtvT5Q4H5/ZujgxjXcDY7PhvU6eRRm7/m0Ay4+HVQ4foR9T+3lA9Juj+x2foe0RWyDtGkXZ0AkE26rKYaw474THBrw0A0TgWJhNkrgB49d4WkgPCAQWe6YnEX6ksb8e4wbSBKDnsMEzJcFR9dW22PDlWFssR60z1tMhC+T0b580BNQZrS8wXrvEjiCC6Zv4Y4c1BBu1aX/Hzacpi6Ij44l+L9ZB/4Aos1baLXXnG+LW+YT+ji9Y9LowYPHsOgG+waJ12jrxTdy5XTKw4nVNdpU0HjYbo5GhAQ1b7MR6Od9KSjOCCGhNkFUxcyrUMXVqKTj1jOwHa/7tIvW//JEWYGjXreTruzFfaVF2q3grKJSoEVaOhVkWiB55Tp25LEHl1bc/SHsXMt1iLL/5bGc4VnL55w/ZxYlnExOmB10Di/RhFgjSDgGMvbkifBEsiDQwPSwFr0vihomZGnKiMDmqm0lz1ashR/+Ap3+A/cijJk6OMPLg1mCil2hVw6r0ruNpPKIXZKJIVCkrgK9reWU79m0OIrDZ5/b+UX/j2AnAfzZmpqq3Wt7WuvC5l2sTjbthmqQTAumqjQxXy8olBeub8AD7WEPpeCrIhZo8DdSo/JL2EPTczzvusEunNY3XFeRTbtCxN7Ml9IK6Ke06WPpxlhC9KLELE60AW08RLUyzo2mb4YJP6oGcQ+XwEj4x7grZwOg106CRKxddIDSjVyLYpjzdT6U/pZOu+Um3ikkv/QogLuTV70NisWuGWrS0SVmCpqKQBEjnkzwrnCXXgSad7fP+wB4ZKjaAfqRANAlAQLj6n975IILBs0ml7ccbXHZ8ekBVxiOZ4HXa73qRJXcEGfpG/6K/GqjfonyausAgojfM9iE+MW3dIzuRwSpdvcAFEshqbhRDV47PA1WtIZf3Z52nvTOWSGlLyrFM71xRh5FqhU4XJMoC/Rz2C6lArzKFHdpg6mH61Ga5JwLhqBmAIijZvECE7t3OTpwCc2NgPJUo8ycxqeyMuB/5zKQJs6c9rnWmYveRmax4Gv0QBnRtGpdZbRcL/dJNHnCIHoTcM2yt0Qz/+zW11HYFMbtGd0RbUGIw42SKvYRNtcPfhSBtkZVGHWQOB15mAdaHC2n3ehZ7mHjkjVE7nbpGSjv6DgbgQfRBoFjkqvt6Ge1qVksBBnNB2oO2AKGVr1kx0lwUGzUnEsVeVEZxm98tXKDQ+jWm+eyyY11W98/UoXTGZkPfJIzKCIiZdCu+el/TpW+Gg+0s+SbnnMuyqYNcD6zQ79dXe3LER+FRmmoAKZrQ0FzHMZDHgcTqSEkhK1HQVSoKlL2ddDZmSeo4b6DyMaNqWNAAHamzdGF8y1/e99cPSvNB+oTtu5cpKG6Mf6MxNLFzy6BKWaIXrD3LUGOvltpQuQ+734g2dETO8ILZBoR7t2f5et8re9YxIZ5ONCIB1T3DDPM7ZrlPir4+FwjnNFBFwVPy3r1vqisA4QZ02HUga4l5HXRpu58xGHbvDVBk3ndrNd5mH8xXuMVEZtvQSv+MtoJNyxEcm4H36w/dM43ceLMnu2Q+t5ix1Jb9sFekpHRdERvCQcfOMbmoaMKbvMIG4KFMy0e5zU1vWeevaZ5K3Kzaz2zU9AZGYiWgvQcHqO2MmgfF2DabXKbeSkJedK2j9ZClKKPw4X9zj5gMs7Nd6/jLz1WDQ4A/Y0pHJQ3ujpUbnLBuPv/lZQfKPqJhcFfJVxA1cgpXQOe0bz0M4QuawDTq0WOv0Eirla5WT6mF4ot5lOek1k/scgji7Nbk8fhxjHgGsQU39gtHb0I7sjbXtEpp9VAZ7+RKMtne2ZnzeEOLLaorsZ26sZa9EAMb00m+OcjaFUyAkWA8MCIxiwdDfnadHgvCXT1CF4DiRt99Zr2mCTmUYbSs8yN5t94HpSbk2pIYgL1wqupqv7IgAP6w2v3g4o545mFAZ/+fQAmYI7IDdAjg6ik+Zwmc+qltkkApOmlNQ0rYIi4JQVF0pC9jvzoZxYghbkgbMbDzaOO1wLApD7xKQ5VIZ1pURXdleE+BaQi/cMedenPaBL4TvLa5H1fSgR8W9NGU86eUWRP0+HjAUhRJfUJ4ja8+hyru4baBEjJN3q/K4A8XiTLST+TMdmTni50x/AT4n3pqKnvB2iBnHL9bVTq2YT7o9NLgxw33l3sKvsFXTruK5uUd2MAVM4jqUWzIu75LhucoHnWrI4Z57sccdAvRZ/Ca6AMuch8kzhgYYM6Dx9v7cSgLtIfG/LW0n2qMEsrm2W2hJTmKuLBHn/6AemzngcfifFPkamXZ0Pev6+mcXV5r6DOQGiqjpNL8m1/eQ+X92NwFVwT0VxITIYi8tM8zXTxUEcRvb4oXa3nOCH4TgHEQmfXQnUMfCmx6+/Es7q9Mn+mWNbvF6r3hA5T+JAbWo80B7A22vA2qroOyrer/3a+N67y31O2uAQR8tYw4An0QcIgQaHcHB9y6dBeoWK6HQSvs5F7ijl3JMi+OZ4TPo1w9eOl7Ndq9UUGmbDeNLZIWNY5w72VRTMAmUkD4k/e9LcFvHrsU0SB7dpjtNhfY9tCKr+UJlsEQRC7RG7I+iTufJ1H2d2MlB2Iru7+YhrxCKkCEuoHAOWmk1+lR2u0qItEllbNIX/nRpR/xHCkS4EFN2FgMH5pq/6sAFPfw4M8VQCg5s1ZMBbEDkVP27x+yLXDhFRDx7hSLLcdeJU0ykuJbtmBoIQFpffuDt6rt+06eWlTnWt65embyGTceeC4BS7GnDICVsSAEjCqxh6sWLrIx39QsZtbEh7aeny+SN7SMmuRqiz+h/X0TGxO7GHmZAHfzLfXkfuUffp7i7jSH2biNvkqWA78yVsTlIAlNWygYmPIwEdpIhjsk2DC4DqUjYUx4kvTkyRl5I9WFBCHnnNtMFHKGT83KCMSki395Qqt/icCCdEhKX2G6dR+dOgiAu5vyB7KswXxDoiLNdvu/e6F1oD2oU6bODOUcYys3TIDxli0NtAJ3xmJtOpV78b8iWSQa3VE9s6liqtjwjtE36lYkLojcZsKyeBGRBSMc/b59ZZNZkyqr3LH0MawvpGCuEjdxoyr/a9P9g2hFaLZFZyUOJucnemuGPPtgjpVXqcvC3JDsmMkf4nMmMtklv5/GDkpIImoaMuGl25PFpCD73VtjIv9PY+VMPqhRo63d1bRVG0rWgDyr/7KfxGmQvPCZWAHdQJzUFKH2xj5q8FDrb2JZppiyhpys4bUSBMGiP5qgb/hHdQ36i6n1F6bFQis5pd/tCjH4pA8SudBgZGwmL9o/0VSW5D3xzDpmNHe3jsgC/i95u1jnb03dc88NM05Sr2hL/3PHEIN9QHM4Upr2ld8g9n7MyyT7/BT+p7xYyCiAwyA1k5Z/uhPzAdbh1nlQGmbyTfav2C/5kD/sV7sYcaat+2YlyEyRZbFlrc2xUghzVX8YnpOOWp74eRTdpm7ekpEx/njhDXiE6MWAgRTrorJreaoqJ/oPaVgvjlfxW7if3BK2MJboX16TmbJ4ePC76wpREJcgLkGUl2GDB7XtewRinkCW8CV4JZdJgzufUNkbyYwDu6LkgGMWYcvb8YDuXlD2nIm250we7lryOv7q/c7D27QZnSdiKnVvQZkZ2Cqr4vUHmKRWP5zfhW5fdIHC5dxX6zQIMjfuShr4yuha6GQY5B3gvgBwJeuwcQ7QNAM80FlhcPlId9mFuYfsAedNoGwixnrsZeaP5XMMY5yHNzzVDN+t7sAbEYK0IqgNGhefkVWsBWyESVPYrB1v9fYB+OTo8pIESejszjh2OrkJtBwAlYkkPCJVQall36pPUCmlcu1u974ZvVj4RnOE3KKQh5JRzDUaZR6f6RBTTmtMz6NxodHZUdBNSWGCgMOngYjvm3qJImiidgiTsoUO5Po1HYwQE5d0bjXmZITfgC/eY5Pu4+rHTIg76X/F3Nfox6XefJa5NGDdvpQCTRHF0x7i71WkmRgiSEa9gQest/xsdBJQHdM/bbFvl5EzyX5X7G55KQd9/sX5VP2Pqz64EDhFgUXZz8PZFZ+ZHi+TjfOqjobZ4JbXz8ad4BEvcrbqf42AKEpH+0EHwk/YidySFk/cp4Fo1FxRVxHm1B9lIxikRX1JVnuIH8hvwNTM9KhEm5K0dsUJOFm2m06wCpP5aJ1tJIPNpU2fCSgKv9AFpJWUPHi/jekudUbRZzJ6ogOMmhhazZbaX1IkKTdST6gHmnZS7BfZa8dmUpxM+3p7HcCAMcMq2KWkG4qy19Hvbk339WCay3qWnZYZZ6RsrWHRC63Xx9Fo14PKQydlVCkOH+wLfz7/iRPKZWmnvvOVdJ5HuFcvheE5SYLtza1gde888Aj1Se0aL9T6xHTo25gHi6RE/qRT0iLpgSKarYRnLklV4tzP+l8+mcPfU+jtttWk7js6EJ9IY2WBmxKa2/kZEPm090RvMltWb8RA7b6SfWDAO86eMuOduI+BxaQRLAnE7xW4F2dxFOsQsPJXi5O+BjxKonTnAfLa4rbRhEyzodJWxtBxPU4umrVtmtTDhjPybzROsdqWxB4XdNah0hnVXSayViEC3PPxClNT4V0tIzpFIiEdvEBl+8TDz4y5As6RgD1S8GPA9YJYx3quXhcSmiyDVUe7h7tXBQhm05w8GWyBRYXgKRL7/3QkgG9LKHd2Nu5QjfIDDdW32KfndpGqQdf7BpRAyLKCgK8l5snOL4xEAeLhpyLHhmF41lCnjbCJWtDYTKxkNQeDjv5ZK2M35EPnM7K8u1gsaGPmD14QjiU3SwHSxtYqXyCCWPkO+st8jGFb8OSgUtdlqUn6adHuMVPfEU5N6+vB/H0gXuPiCz73E0JHC1DSXLLBPHJT3LHoPC0dJYPF4YQK3vOR5REC+YUbWG2IAjHDwl1ydJNrrqDU4FGZw4yYlppUzYgVXfXhL33kwZcxNai87fvIeJ4NCqxo3Z5KVDybFlijNh0Dol4WKytz76noBdho8W8drdxovPtI0ArGwfkx6AxsWhT61LunHsayU/1wGC8vPHLPa3gqAHSnciwlWrAjj3Gz4qU09Zn9oAI7d0J5MRGGp6Lb5iOx7FXeQrrRj8yB+YRttOFUPx8m8gBh6bmY7+ueGifAjG7ywu7YR2xQLaD3sqnhpjV3AA694CEkTJweohsZN6mKpZjWrcmNKxs7VOrzaxot4oEJNo1e+ntjSCrkhg+XQ157c7omGUVca1Gw/DkeTTw9BttnI9ODXq838SsaVyuj5moNd6stiOHSucjeL2gfAoYTzFnz1Ux1P5uQvE4HOQ7NRKHqu2slojo2BK6Xz12gSGZdkFVct3LR0pkzOKWkP47wFBK7PlBB6ojeuW5m2ScgfB7OQcYeFOi3zTuirTLdTTj6u+MCOLZlmzHWsWo10qEbQFTvK/eR8iqjvbAk7rf8MGGL2W77qP0hp+FF6TnEpYD+2lMPnmpTlDpjgmbofgDQf7HGTiHxx7EHXUwITYNyq335N5LrbtCASQHamfqGpTX0665hF8q1DHAEDb+BppiP4c1/kAT5FB47fyRAoUv8NBDpIinOoqWZxKFO4LWQHADSuTzYHz9ujmIEdmJHsgqQbA/UjXodEgwppPosNQV3pB6nFnn9cLyBxA8TZ+Zk5S04vZGE9lpE9E/0xqgpuEnKrHW2HO4yPt+l/OgAKv5Jrw9yCzS69KlIC0gxtfHpNbKYvAzn97PkJJjiyL71PmqpsHApe6mTnsRi6Sc+DmOFWxvbmqdGTnvjLUuijGy6LpTtYxRKlGAu3CZakADdnjk8roA1Tk2G1c+gizofPreIXIU7AwJBltSrLbyUvNClEaqKN+Laep4m1m+2QnGMm4EexjWeBhc15yYxF8888VbSkQPRDXAG+/FrX+QjpT/GreMiPA0c9P9qrsRfIhslwUJTa7zuXqBbs7dNiruZnrfWvINrcnqkbKC+LtoTs53tA2IY04CYxAIn7JRfdC8EQhNFy+jlyJpxJq3f151cuF8GYFv3cNqOteYE9njaxwxMLsZz9vzeNH6cc+EaG1ejXkTPiKrfgAM5QyGS2EyppAy4QA1eZS64zMjgMuVc9qevVJ/BfQvboTPM80zNiF8FaDjQ/LCia2lY+P2eoWpkAhImn5EHvESJqAwgCiqS6uCTFQ6uXbFhB1/FtC4/xhbNCBBMRkB9auBPwNPpd0sJ/veDYEs9fOvULjSZMYlE2engtZpkII8IIOfdDbaMr9zBcbbSuLPzS5uqryTvBMAk4tBjXQA0FTt6Nm13dsboGEs/xMu3nARUuVwcs9/HXqqsmfiv3Qh3ea8QEQgpv/05ADRlXA3owS/VQuyyCqjIUKu8P8cbi4NUq5gQEHMgAnhV+cOZ1KA+/3ILS5BmbWZyISkyJk2udwa9Qpq2DOTt7DQFABYm3ZhMxy0YKrV+t8VSVbKG+BRaVraYtWTQtW0sYcB7TSHhzh45u9BlPwFqbsJVmGxu51s+lGMFQirEu2KL5reugn3F5Cd96eefn/jcYkqER/iVEkCkjo67YQg4r/ULdPWLFVVxjN8hJqaz0edMyU2gq+Qnxxhgzieote3TQnyeh0qOpSQR5MwkPKYVdIOIyTTazvNTIgzknDhc6k+dG4R3YapB1qpFTq+4/dKt9OY0kNjdYsp4TT3hykvKe3VpISrwsuK/BynOz9E9nN26eqRvoiL7m22Aa6go60ngvKRCCyjd9kssp72FjCgW0ipD6HeGSxKb6dSUJzAnxtkJSq8ClywcsqiUZ9kU0x1MR5WGqf5VbBd9inO7FH+xJZvIPx30u2W/3FVYwaBI2/cVvIPpp2u9r8KUk23Kn+4GZ9PHV34uBoEXrtI9abkAqJrrazY9djs+vpWnCFBvih5XqNG6upBfy2dkHp1g1UFyljFFXkMsYcNgxxhQ4ig9Qj2vZ9IXOfxZjRal66Oj9o9ow7+eMFwc+ugxqbEjOwR1qN20QFpAlWvIJRQXCserwXXNxX7yr28qHmSEFkZlzpVOtVBqQXs4QqCLu10X8Tn5pqvrzGbXL+Cc2yJd0C4VPZNX1Bydr7T1IDu+NRI4tNV/joLK70k1izTfDz3EOYN3TSfMgyJcfJwNL/TS15EClQLgqEShy48tZoS0iABJg7Ls5/i4RFQhfZX8cOzlMwHh8Ss7r9O1S15mNTOEwpRQ07UiU6v5bEuYOd/tWzIvfxE64/3IrUrGyspl/vy/snFQhirww0czwboya+/za9qwc3bdSUbXbVsPn87jRiHvZemdzS8hg/FvHiNMl72o/NasbIo8ZraoZc0hVP9mwlVN25cb9so7W/XuDznfH0SP7Rb0gwjrhJ34tLS/qSOF2EQpia552nbkvIhrfp8vaDHhSIfhcMHFT1y9Oh5FBH6HvZFVEJwoUpoBiPJNiIfi/HQYJpSqoblm4rBdgB4n6/QVLDACu2ZmL3o86EIOBR2DfT8dTcw7k0OXEvXZSXlOOOjabnA2iSxXN2oz6hx92GSkh7/HpxS5cZLxqAMLNpN1y8A6W2hhiCsju7I+p0DaX8ue11u0dFT34PNmkXnV5QcwgBCAuBtXSnKUftsS44js1bGzUdeq4BcZklTknSepwtAXb0ylOyMx85CTpW00VqjS3wcJ27eLfuVBch+oWRgQVH6WveiwbQvDuQV8SzYecUj+CphHdV5ZnuxObUtIA/4MM5TOlqAsAa9t49mRsIbZb75kRlddHH0QaLLvQKzxr3PxxAO6LAVGpffRq8jekg8Xn0DJu/npKkFvTYODyksplM2zLbvGGh1zdbZwwaEekDj22tT2kMyZgTrmocbdb+Kck19CPRySr8G1qsI7M8xywNtc7xj8UAM8lKSllxJAlHArSv2MlOHjussRLQLV4pTJL1F9m2HaVEwDQDddeFYkj4wt8pKzbb4SAAkm2nSXFwbxaXqMxAw2IyMQiWMElpQn2sRKd4KOlznLPSRJOlPoakxNa1zhaP6zeCXHHCmIQRcY1DpTrRV06VKk6mLh5RHuNZ/EHE0Gr19eBRtzUHc5UJE8RTSwhduM2GwZn2KERE+AaTg6bEEAnm6uWZeMpTt4M5yCHaHwBIuqkXKt84aDQbZff8BMUCKrIXc+gVtE3yecUGQmjxKh62oQzR4bIPbTTwwtdEy/ckMK8YhS+Aa1eayfVVHZNoGsKRwEusFkPw+OzqOSr2ydibISWT9oPgswFZ4yU6v439oA+HNvrfB3JbNE4mZKVGe0fhFaJjTKYgC5Zcokdyl4g0U0Gr9IZzR8fMmBKJVwcJQBv+FttXA+uGX1XNs23l1KSypaw6lLzyZddA8OOz+c302Li3U0TXc9LP7rCnr4KBAWApduVtCqJfxCwfvtEs3CoQazxALLf8hBhJW3qWNajgqFzM/dJeAfW42sI19D6WOCIGcMsNDPIgW3fvTu8vWZuDR2MKIcysT4Jr6MD8pi5mH6UdjHgeWyUkb1oYcbiB4e8VlRWfcu7tCnpB/SC0EDlvVF8Jt3ZnyJuXE+o5MCLjWy0TEaQ/1KiEMPhTidy9Z8dshJgzRzpaaUTxtxjXlFzqlIYh3fnVWemRWZEIMi+J2EhdE9kWlz8Oct1/oZvKhZsGhLCBP9VPpoLr0AIYxD5R4VGr0aUhHPJfq54rTTr5p+IhJYv+Oxsu9LElP58+PijGZkP9qliyUHOvGBefYZbPJGWLQR1WrARYY3XrbrP3/01/jPCjxr9Kf+EP6kfLcmqNx/liFNF4ckAk1Bf5Zq0/OEgoxGQQfAfOb+gf6mIodIlSRSyqIvBOjZiW/mK899JezP2qxn0EC/0VUs05ATae8ovGUyws4eVOO09PZER5dFm7XSyCehfiL6Aqeqtd9flSuyXnfSeH2igBehACUPvkJ82Vl2G36oMg3s23YrAF+RZf/oVoWTQ0+R+3GD7a0o9ZYwJBqNwS2dzqD+8iElh5lTj3oEnj5ybeiXffEdmvVPDEiUwSC/GOKjhR+njJRW11UgHMv5MXSGca+AZzCQn4aeFxUAxjVCxv4B7Pcgg4AhxHjMu1rOlrcvkDndeAag0nQgTkgJWX5kUgVcHb738Z2enkMQtCtmcFGT8oswl9asmBUoLSv5/NO/5E92jLtODZg5SK5E3vEESDr/BXe/LxvfNw/nDJVNwGJ5b9hYanOxYoPycgOtNGHUkZqG58c5fd0X5QNphjyYkeEMEUKXUCSBSQFw9V6TyFlpl6DQwCMylt/XZqMR4CZ5enwP/2YADqG+dKzI/E7Bv3FSNKmClrNvU20yfyDQZCXPsn8A/p2sed17OAibH0nj7iiUie7cpO1ivsAxsJ6Mh4K5hlWGZtG6DZY7fncbge7FDM+R3WW6Qo3TeXQ+C7N849Tn0dwvf0zNljyOgCrZ2RxO6nEu705VqhzF3k2TPLuebdnyf+IOArHhUOrFbVxQaY/Oplm/80fWcRzcFUD7cLplU5ZSGVOjFcTlgYxFQdZpkQAXF3LRxrLSU/8btcQhUNGc8nWCBWbUU6jo/Ls5rIB9pISQ0Tgh3qit2dvgntfuLsyzvN3GHF4Z/cNk19FCdI3trYek12/XJoFC1zf7x5U2uHBqr+jzkFuUK9/hNdDn1daFHATIfo8fBFmZ/Kepybtkf7IbJWvqShR+I7l5ZIgpMu5VgnU3OZjz5fWCvBHxeIlYm1vcF73D1kznusnFFBXPH+ebquYslpcPJxUQTfMxPSAwddKOflYkHhwiOQWLeDL9V9sWCqvETcti2YjxE/1a2OQekoGYE7ivXpsAGQxAdNJiq+3AdXYb03iYIzzb1rYXjFtFie+7OpbILn+Lp3XWk9upFc19GnCP6VDteeuIiYeYV0mH/XhRqe92aV0J5x5v17CwR07L/bpc1ztAONbVlIB8r5hYHUJrXhocP5fI5s3FmskCpVM3skQPfIqGk3ov3Om74Ix5820vkdQNReFjrPnYFOAlwqxomOsL5KNiDEA5eHwa521q1+hFt73lX8Zdp6g5w8Q9KWJ+0mJBLiwImIX4H8TGt0G1duHl4eFW5StZTgFs/AQj4ksDkW44lT/wSaF9e58d1OMbKf71th1ND7BXobLSJBV77UO3hobr65gwSOmIx3uBvZGYKflzwrtax3GRU7Ki3iiYiGyZzxSP13oBU8FiVTM85oBWDuRxcFKHZFv425EGGev5Qh774bfSCCSbJNPmspAoIPkWIOCMMnv63kM2Rwnpc7sRsiFjJdXWqeWmYBbhSq/CtiXXZKa5TdHyyl/fIdrynRx2KWv1yDi6Axng7eyVazurXZ9mWBwqGHjFapbtxyNu5CwcAzFRZqHVjgeXu/55fUTVyAfitBs73j6Zkj7SSHsoKCTwVkHkgNhkB9beEN06TO3ICdzxie/Ff7BsUI12GyQ1PnKALxEgEXpWmjSyxM/82fcR156JAI4DU2UMHVL3ajZhBPp5k5CGkxBaGGqTqg0xDCcy+as0U0n8JJfaqNedOX/PMPVD2LXmjQFnTIV1fX2IEsKJUINb8xgBUwBgfXAgB19dVAsPyvAnKb6QAxCZ2rbc2TbuSKsCwLGeH9vOKR2xiCFW/+pTnwiOMJ+dzjo+Pf2kiXjXOa0RrUf3kX4BtQE9rSP7XMI0jBoUfZvmrRTLvFRBaxGFTEqt6QCg9ZQw7slGumzJGI+sGOkNtpUz477u/Tr6YDvGtbNLCSQ3RGDg9tSlfUzBIsGJbdTk5/HGqhwqODDZ2wL9PvVN9fkwQtWG15MZ0sTVfUe39ZOvo+cSL9t51q/Craia1LjR7SFBssxGc15S2OVojU+BzANrkOR9sfmGEGXA5YQq+9BEOvtGqnxratM5TYS0hGwKpn/PirCK2bRaHeLInF525oVqlPxXNgxnwW6oRKzlYVMlM+xeus0SnPMbkNnnLBB5vczo1Ysw2yctzV3MjaNi1koIx4IBfBGBrMTVI0NQ+XikWlz1TvG/e+UtuLbLmNdPaaDT2TYfSnkNC1bHrXRAHwrUf+vNe40FE827MdRNoZjWxv9klempS2N9Oi3SofXEFribkR/Sy+Gv3katn/iigYd4V2v3ON7tmcXOGywCB6KlNHGXIf5exxr9AExfSMuRYK8OUcrKWlazdQqrqK2BAOT0rzaS6kqURwbgKZxqDrwPbGiGuYQ2NTLW775xCefXY/pFLF2QqSLFIgBNr1nVZwX38ZfFFe3wy2AiyfFMpxmAv3wUsWbFiXUw9eoZFCwl1JsQoWvFmNbELnrtFoezzG4NnElKpZiq5vcLWhT6mUDLHZwzcoPuNV3N7Il6BjG/kh4ZMNJyfUhISBXrI3M8BvaZ1NePz/5v32fbdusZaYIxz4XRxLaF5RU2uJWGcCzw683LQ7i4qkmMDAfpPfPlzIMQbweOcAfosozie4wC5tOdwNysWmYhtO6vzTve/0feo/4pviRtGJmN1+WtMe8XS6XcBz9rOpswf92WKiwdkU9pDz3bzPAaL0Ysci48UuY7e/4WF2+okOqIccSaCxkkErMQ4K4WGIF58nN+cGRRBfh1rEbksag5ImrnzKe4qeTZR7efMvQKpN6oM5XnKBEsYdphrHTrePe4UlEwTc7IFbhb3/o28vwsnWVIM/JGMewr5r3CHAfLgEYKAqzqCCNdi+Kn6/MfloQNbm6WQat2z/O5fQAZTW8o86j6CFg1D9xTV+1pI/Dn0bwRPab6CWjD8XJh0R5UB3QHSTJw9y+PvNznqTU0A4KPLmkyKt6/PmjCYBiGGTb8gH5OTcfr1D/5W0IjORl+lLnJMjMLf7Zs6lvmlW08KxEUIW+FMknp3NFUsjGq9FbCT8UX+JhRbdePI1RGxh59G5Kdz3q9YsRNh6CBGcndIXM2iCARZvF5i7VavidN+xvO0gHVaqF4VWXGUw4UzDrkDuPLYspWw4lUnzoURDdC/JTDytHPTo2FlvwTpB7/PPz6Ca97ajDKXWb+GHo8m10Ba1WRErIpPJqTL8Qm2E601UehyUoj2pBz4qMrRU3DSsOKlbfguYr6LBnlt95ITc92fmWk44ghkUQ1+w/IH70toUJ60tPmXJPjAMvIOJDiZKBIeOfEafe1nmItn1WM07PqmbeFaAdf4/t29Nk4eEQNjAda+DwGD1PHVSPfmel0C7UJLIoRaBP3Z25L1GhPdl1EauVW/oPm3vbz0xgbg460x7fvBdAzySOYszticGTCT+BxPnymILYNJ8EVGd3ejWfm8EOQLDFWFM55UUoScmtBqb5aiSKgcdKlSEI0CkMiv6ZYBso9lChTfuvUpwZNhh2tSuJYkukVAuR5UOWjjnInlf+Y4kiRLV/5akdH/eLXVjQYj6npLkyIBU9Z/5YJp/tUcWQL7AMLuHRCgLjihxqAVe76OSLQBcRGqn2jjVaPQZqdVMwBdvHjV3sy4RtGfCklDbk9mg4HLClMO9eQ1uOp6wgSSYqtRIh2sAYqF5tphVIER2AEhaW+K594SBEVrz26QXOA8YFVRjAZEeQU/MA8ddtgrL1QApiaq7S2315gC5OeH44nYIB6hOtAYYJ93hSZ/cuV+uZCDd5gfgkj+zGuWkympvYmrSCLPeiicynBRwlPgYtAKQxHu2QmRlJBm5hsmG02lr8B96Rg3aPrjitHkHE1Dk9H6/xEtVN+i512zK3odI7VHzZLdcBENfVJd+0M1CqjHHKoM+mdcGVpOQZBlhUbfN7jMjGUfqV/6dZsZmse79Wug8DD5RPvkXHkuoHMjaXihby2+N354Oi0av4bgHnCC9YvBBfILysS9RVCzCJoZ+7wH1W2/gp7FiSv5cESdr82P8yULEYTzP2RdkT3l08KPm1ci0zy3fmDLmOr03u31Z1U4X9hrfpAyrzsv62fGIqlf0IZ8CrAige7/R/keVBs1U9ubYcWFer4vcU9oavCoPyLMWw5blFOLTW/O8RwzObAFh7q66yXeRp/9KKu1HLPUYgQlcQ/Vq+yUWu8pQrv8gMXk8b3Kt8M6L3Cy4M9O/e4Ws2D/0Wzy1LFpfOoOBw3+0lvYGS2qjR9CeFG5ZhQgvulhSqxCYM03TJZ6T0D5UlJnARO2SbV+DIzKMdwcxWZv4Nmh/R3nLqQXE6ISu4QkEpNzzcPPXMW6hkj5IUPwJVfaWq41Wrheea5yGoxhZZXL0aVFbBf0clVQKu7YsxpAp1M3N5fASVT4Zvvp+HrnoKhed8yuC+2hZYxfuKFv8S9ouoNKDInSjKMDLWM3Nott60Iv2WknPNs1hpp+nlCer+HrUdcNGKGts6Xu7hYeg9k1FvK7TFoR9rSPh1ZNbCF38AYCtykLqMz+dazbS9Dt41ZNE9Hya5U4xK/TP5OF4wA6bgq2+agaMdiAMh9jl1FHBpxJQAXUminJqoBY7B/LvsLMVjspaQlZJfZEO83W9avMkLesYFlUP2IfXkOndu0+2cGv8b8mhnh/M3c9aYIFFr5d6KYv7e+z8iXSzKRoAvD5nXGSSTe5xwOKHFs+w8I3dd7IjdSDLmSO/KvZoOfNp2hrjuirujyVOz59qf0kFw01bHjs/glQwe4I6dyZM2PP/xLFSrHWkbi6PEwciC8sVg6bBucE1WTqewnco2zWkUdmAlUrnAkV5xVk2ywT9L35NGZ61qEQJt3XKjNoHZYKevaPX6PW7I3vpvikyvAKI45bU2jpimCNKy9CYo+6SfNceVqwtudS8nGVtGbEQGCzxsQgvdYfMPjL8ifqlmKf7vS4uxaOU2YjWvVjDolW8aXLxxN/YOl+O8CmuYDiku9Q3cADtgeoPcJRbS15Jh90TtOFe7uyXjQRSDgO+aYiinDo5quvU0hNMPRuXiXGvaRYHas6SqTJ0FvU2ZhtVIqYWgjN5nOs8GdFsqOSofl7xI2nB59XxG08OmMzgxzpSDYjZTzQ53uf9guNrGD1dXJGzKXgX3ss8/ly7HnkS2XYxTY9OsFmRvaHF8FTup1zfWvqLIxfrsNAds9OJlofTcojQIigztoON8pftVuNM4fKJU1JX92mPkciVdKUjX2YNVlaWorPmTnrz4Ui68dloPYzTppTSo2OL4f2Dd9Ob5AysdXCcXF7keHurXmftYrzh+DgtNL/y/q4y5we1UKbQ49dYRBjZY5TBJkYgjPD2ZyH3gQiseRWtxinZiSCYdwVMtL1dYjMraxQL8rlHEz62r4tUfzEA/qbc5Clvut11MswtLL++wwa9lESxnu3yMhBpRQ0BXWzNABq6NDpECqRIgD8DEKVlcOiGGW3Y8DuMbN8wBthI6JWQX9PZNGFi59HdpYdFGxOtfDDXM5D/34/UCD60B4ATZ3S5STmr6QBg1Prt1Dy0G94GAH/Yk6qEw6zMLXlvw2jSjx3WrteL3kQunOdYqZGeGGjurgEKX9msuog5djfPkz6Dsub7il31PKVLoMFOXi6pz3w+tgWPOmLx84uCW1Ezd+4zpSrn3X2YGW/Qd9yvq+bE+Io5xxTJbt7jDfoG6okLQNztmXBG+3mjWZB7fBmK7JETZ2DDM/CILvd28Q8a/IBBVGD1ATmcxJQDMBhskR968rwd/BpfxUqz6veIEqgeCTAi07pZMzUbMGq4w+dRORvYFnf2NlIRB5ZuiPo9Lm9Q7tutv0u4RlhJRmmPA7M1YUyxW0keTerOfwGHe7XtrxrMcAIhdJa2EpGz9qaf3P9MAiqJ68JJH07ynr7LodbuvNirbFiadqCMLZd7l9OfO7eeLOGWOh2nnKPvKqXELCXUyGGaynIvxkv7aJR1p3iyi4w4rQ0hty4NugtyX+Bbi4NbEj9UOnsAbFaUaYaW3Ea2WjUazb/VcdOqq/jZH9OBflJkX+DkV4wYxXO2TCrjzleLrvmYSUteP/k4V60Z0nM7EOyfaGQiusc1483HbMpvABpipINCk9G0KtIkp6gTtAv8YPWRj/1C3bJu/Pg9rILM72mRg2Zs0Uj+oha8wjxSZO6dD0OroYm4r8SgiuvgsSdA7ohkwb4+cPCzavTp3pneXfTEd3eTEDl37A7q7wa8Z5RNZWdoXo3gZFyqPMAAvKdDrlGDiUtCpq2fvEJ4jwSH0kJHjdVrNRceLp+SJnHXH+Db2q0MDUH1ja+bAjipAi2cfAPx5IpG+/RksPYwWmPV5/oaw6nML4aLqP0KKQiMMkJso7V7CK8oFWW3MxXm+eTo6ZKOdUfJ5oieELvU/oTOOCvs+EFkc1c/MHqtwlLRC4/cWcpxyouzyzwaiHNP/czT8uc9Ud8e2sckbWdw+ZuXgSTmbwqRpQrefAMnGMXN64Ko7R9WMwhGvNrPjUZOYMjxQ3227tDMdvyt7jbWJL+vSNslIhoTfILdjLOGS0lTn2jrmzW5F5Fzpf2Yr9Y1dy5SiwrmSzleskSFZw/ERnDbJKWrSjaId8AukfLcZaqLmLIhXWspIKrl8+Q4r2j0NUAg4+kBk7+lVoRF5yl/ex7tmHzzvWBHIrUqv6CAHsFTc1OiS8OTZfWu5Xe33NrdQ6E21/APgb4NgURGLBIor8+Q6SFTf4fOEgBiGY/RE3zoaoA4yifY7YuPKMJmUX4V/WJQO770BPQHAW6F7iSqvGi9NzDl5u61ORXmuo2Msyr6t4EJSLb+jGe4Brz0QslUHreNLeDglAsuNaRQxkD/Lgcla9rGEII9NAWw0Eod26DTxnAQ/YPwqLyGxcAbX9aAGTDPPUTvGeg7j9Hs0RGKMUOgg2l5CU8va01AbnfMPkb+/3wALpkZz7Ol8xKBVFw01Nx39LKC7LEKi1U+c9G1M486f6rLndTR8qG7kEfmdR247RpY4Y2K6KK2VWJPY6MfW+Ye7XWYUbH/c6HuQ9L59UHrn6OV4DccPfCWrb8mhJLQjUq7YRZLJenSZyh9+vUZQB1deWb0fTsR7+wRxItCBc2rDaADzlJGxekwvEpK2dfdzl0+MpbOtYVdxgdV26wB5L3Sg6S7qF+S4NsvvqkwO1jdtHtNTdctcZHYOkPQhwTs2A4rXO68lnZqc6vn5aeGPzX9ft8Tf1Cm4ziJ8g5TTBmDAbWucqUObpTImZYJ38MpyWUZOOLRo2SZzXeZkDZgVyQTNaQCSEruCAa8mYMRY6x8qpVKbvOqdZfylkfGSSkEob+VQWZB4fw/WCmS17eGoEW429kNTc1N5YdihNd89dRvRC8BfkooCXuco4OMm/KeuojIxsokJ7KN2Qz8zt5EjC7CVkFwp0OsH8Oju3OFkFAFQ6Aa/AZD5WpNO77OVDarpQrsNQ8tu+iuBb4UyFxItyCnpR3VzbP2eYzi5tek7ng7pRUZVj20dC451e9hIX9VaL3cC7dMOxUwImvGN6zsM8ng7UD9xssLV1OgfWu+5+i5PS7trX6miTLVxrGRoTPSj2pK+3cbxL3DKp0t0wco85oc8ZfkNSdWgZoHSBH0hTessEs8DV31ixB0jP0UvTkOU/6dcTQ1EupXumz5Rh13kBrXhwS9r2HDFuhFBYfJIvhJpw1hd902nMCsrXVg7L2nlv5QVNxlP8L/aRZ4r17mDH4CKgfS8+o6G11fZ6SUf/7pnwkAwht1jCZ80Vsmq/Z9cnTeFfwu3lWfkiD95fzQraDWQORHOPODw2oO5A+e8HvRhwEXYfGkOoh+WFvnbhYE3rNr/D9qM2UTtJpKPlxiqHU+5YLBJVzudlShv9/avpoSH0P+BIVkCXJwhxMn33qIAv97/ERuj8RzHexHtyWKTN3nuNHb1wheeg6XC07fiPgkl1FY6mkhS0CpBa7Zq/TF9oh0Q9bHPk5PiNq3gBX7DYlaa2pFqYaDrWq2z4yaFaGapOFwWwuoC3OK/RdDQ52wMgVd/Q3E1Fl+6dica9X7CJU/Qx4DAD82llsdjKBgNv/HtzC6T8UStBn464i9PObM8lP/DNHE0ng25ykS04ezdnavUB/3CU0VzfKWmRpgJI95RnfS5mezL0YuOiremNiIhQFPTejkQQHbJf4srsPL3XtiHf2cxSkHahcHJKp9ffL7dNkZ/siUjq6zjU9uojahm+iKN2ELFSLbuR5FBwupeE/V5OIkOb5qcDzCTzjELrhE7enTSyLR7j0kDMPRvlFhDAvM1XdsBhCeW/SyasSHnmWK5T+UqXTB43zBSWm1Prn9wbmChIt3q4qfwULU+RO7PTxRy4QuJQTwpf0G1OnSI2zSGM8vK46muVAGmHLn2w2VPdxSCUKHADOuYQvS9WTKue1x5MBS4+dFRLSCxeojAsiTGHcASUTyWQg9V6xTIIWJFbgo9bAQUL7hWk5ON3XMv23IPROX+ih/Exg9Q2ljgRsr9nluTkRbU+aPjqeVLU+1bmJ6C8AraJ9ptcaefkA3ai/hf4K6+XlaKZCFeyEWbPcAXufFdfLG6hDSqjAv4k+9dFQUJzKi0AjTpt9+0sEaYI+g0ky0K6eCe+9ncpm0HWgz247Fzra46HVy0/ag82VY81ca4/o941tVGTfzrVzcwk3ICpbjZyxlApR/W1n4f3W3V6W+QIJz6dD3IZkqYZuViSyxG/3Od+xOJF0W5yFEthUWCaYaz1EJUWhrnppfAKiuUdlkWN8jPPHwxpSNYiWIGY+5n+LpgV7fE4QwT/TB9Di1VO/QOPYzCl6QUOEmf7p9taMPJuGPoYYQHwjDMkNLDQyqQ8u9d2YlmU0Mx6ENCBe19v616iEAH+W+Xp3e5P4F+pnbDO+AXgt0ilZUyP5xPKIHh9olTHSa7yS1XdckKoKMqjkkvR63JHVTX9cAtEeKjgGU9TqLUQfrjP6OXdyIKfLZz+aFAj2+n7pachPQWOMBtiilDtTPDV8q9e5v8vg6ifAUrYu0c6UwqX99kDupv9MQb465BNVxJYNy08vnByxCXr38iuHqU0cNDPWADeCBEDeBKNl8tm37v9ApipQgAEzgJnvDJ3Bl9uDMGxpF3NYCHp1uOz3URPrKZXUmhsnvFb1oz0ma5C59pabASLmofntmVGAd5juDSI2kYs5s7dGT83fJ4ohX5pq49I8ucihpiK3rqjLwJ9UW9jAJwB6aiS8PjAp57d8eq/GuPjVmfGYBK4WCyohhACafBRMzz3uQNcz3Epjk4eDjLaq52ZL6LzZ+aJG4r7xR5hEVU66CSLLS0AqrDvaZ3bMKU6rgsxnImK8iMuv2hC1b88x3UYfMFoDwOlvM0/Y1zc0wPTF3clWeKMi7xwbxKcjhpRSyuFUFckSrhqgk9Sr00FYjuC6n5RXDlpJs0x4b0gn5SqlLsNCukl9vBYUKrBttb/+VhcumrOLnk1+4JcKIG+d4aGSnw7IGzC2ElbHKo71VRjOPv3xOmIMEf+Q1wVm56Vu3ivaTXSNUPz5Ukx9ke+eS1RjMMysbz5m+lBfFrx/BMJQmgzM9HNqfKItBqdmz24MNPQakbYlb4Yi4grjbT9nBB64gGzeUEKbK/x1zwg9Mw/SVU+H9vgr93Bo3JpsB0cVwQ6hcl5A8taRN+hmsikLfRj/iexMdwFHHjUBnuZxf0wtsMRa12ozLkfQ62jzDmHZvQgvK0+3RIgqCShMoBDerfdyjCJUGY0s7Jiag7lfJ0guO70PC/n+0aqWnqjto+OO20v3nUaCvhP5n3cCBfakPdanJ9/Uhks+cqiWsZfi7O9MFWwG8FDDMEBfKjSfhz4aEHvzTSssIIE4+wTyw44WsJlnY4a/DVDCBukP5o4zwp8ya20copyPpPGzwZK8JHDQ4dimfF9OE5TNOlhxguGblWvNDv0MtJfpNnvQjqaWNwIPGc39pTAFd6ei8kRiQP5XWtE3zgY8jwAIa6ggwCqKfrUDhfwr1oxwquD/CTB2ddsJSNbBtCfY84udpABlfD+5D2lr6Iju/7VPpXk+y+OdW/gfoqSDMKwc1jDah9BSiy1pMJ+/WvLskKTQcIKtl1sPjkNzz/Coqajg1cf4C7ypVTmU3hzQtpyQcRv2yw9HZZ8WbjqhardR/ZxFTpfJr0ZE8WEKxb4vzeexi88/7FI8E+9j0VWp0LfXVtXQiMLZiaTlbvy5gbXU6JwYgXpds7vFeb68yPqpLUJ/BbZpv75wpnrQIjY8QX2svZtSP4/XDkh6gU45PZYN/0F5LEIIFa7Eb+EpW2walnf25AZ/JrSMbdOsfF+Eb6U5dKQKxc8+jECMrI9ZY8ZBljfs9Zk+JtCQbP6iQCefjvZD0JYQldVuzscsoDecNU75BHDL6DQY8Ur55aQwlGSXoXTBuP8ggpiaRc0PPd06ZR0j34M2kyfRAwLw7jz9na9MOYtZoelXCpjqxHbahypN2VZjt6yWkfcDCvZ3WmoU5QhYeBLryd3X1OdyrnKG6Nb5u+c8AW6zc4zno4+n+szG5YQ4nOl43DmStKpOTEiJiHfEqtgTuIYAFTYfggU0vrmDrYq7jCcHD8ze/j4CJq7wf93EKbk6HEu3Nj32cqfh1aIO22Ai7FqtTdn8JN2+dQQbV2wMfOLKXxq/q02hhWBetIO6MGDp3uf2zK0tmLb9GdEAzdItRYjjurIDZqL061gBAbs81sMq/qejAyOpqTTxcqS9Fu9yfvkOd+xKDut1Zagp1u5kXFAG688OU4I54wtck3Rl3aNU1vZxjvppj2gt9H4r2IX+dZnl/U9WvkV6eUnSYqh/pAW99dPl3F8APxMBXeIHFnflD/XUT9rZTJEQ44MFKcmA8utf81kcvM8oIr0s16OTw9tZPA9yMO8iywjPy6vzdicArRchlsAFGPh/qso3LKGBRCAIRhKGZRO+IOpLjZ6nY0CUMh1+JZVkNx55aNpAf94BKXpgirXuITjfvdssdBijXdCxmdfbPp2s8ofNTu431amxmoRhimT/+oaD7mwBuXfq+wbkJ1CfK437Ci407hr+2FbZlUN99WhRqEI8K09VrSMkFfDYNDXIegFT/m0mZ9ZrnrVbXtJHVlSqXG+F747cvJe5jNBD+rwYOdTX9uy+5cFTrBYATUvPYRDZMQ+3AzdW+rTMlzRaQGzNFcnBCJuTaVKDadDAbvJlMJYDwvOt5jLr2OyZBUGmYiOWZm/uCwFWSHF+6lI3YdYCR9XoTWalLpyMwuo+3IRKlUqxJvwkFYVbCE65YYKO1HlhVAF6CcmcyyrRFoLGEdr6s0SfLmCOWWbP2nYgx5Fc0JdZOWb2yrmXUnBLlZ7Vd6PvCAOCQm15RqzwNyQJny18kDU4ePSyiFJZU/VUYh7sgw7JAhsa7tm/mkTKPx4bcdIygX9g4kf5vg8FAHIt5fSRv8ZIwqofFj47aKwY9UZmEb5Dn/cLNssbJ0xXJDg/lxI4KMnb1DjpuXJ/Vu9gPr9lL3ODO3zE1WI1tz/XKqF/aDj+YUNzsJQcYhW77HbpZmYXTykPq9RC6isXbFAVeqILn+LYPC9LElzF91B/UKPf5PhDzsexm7cabkM7O4PYF7B6WdeopxqV6jk4koO6ALzBWoi+7udHcQOy37Qq9+osLOplcLLPnJtaBWjm/yk6mWVBPD/LY5TA+f3FpsDFK/C66GaMWPukEiN9dPh7jyGj7TQbQk9/Op0VAJOR1poCfb4Lm4V2nFWc9uPUdqbFMT4STXG3Sh5W4NG9AgHY7ck3aRS7HopnLlXwpEKMV0TD4+PCfIkDjjfU33jrR70xLRfatizVAG035M3D2GtaD21RR4iybkOO4W542UpOi0SF1Er2FZSwUc7GjK99We0FzcKYpWHe+UxahBUFxyD5GJkw6gpfcguC/r02AYrWQnLkWGrSJoqEyFsoSd9Lo9Y9BO0Xn288YLmIUMyWLMR5eqQ+G9SdfcMSxLEOcjhYoJwaNV2pFVzXxRjlgeD1+CX2OoHXnXAeb2j4bSmeP4SDUx98EI+4dYFte6+AsnhYK+D+f919+s3n1lvLqlN9YW5+c8t1TskEfau9xfTFHAwnsmyn5aBtKU7qSpulqQ5VCnnTpWA7PoBkRvmnX0Fs4tzsA6ruij5qi09Pn94pXhkWJFVb69rhAYCR4Zwexao1zJ+dBq313WG7PMeBEgC3tut3z4a3dJ8wrfhOtryXircLWyirW5KwnKmSCcKfzjaRfsAZ5sEFQ3uvqq10tl0F3XbVo3+2G1J3EcpcuxhcHmpvN6xk2RJI3TK7FNkWCMBH/hnxqI/STIhBRgqE5x2ZxQtFKmTKq/uwaliMktFxAaL5TgwJjj7wkHFeC4uvow4VWLCUQWfKImVe/a5TycwjC5qekJEWa8Oi+IJaADE4y4TD1NO90vj0oC4Sz3mRx7pVDKm/xbiSwm7zNiTj602Jpe2Ah8zd3uM3wJnSZtFcDkh7ABj7RaMxhWDwZ75EmsyNJ+hWk//kkDqQPP7bR4DHtiyXeGRjuqWV0FPnG+sZJ2GIiR+WqtvFWmL21rn4Gf0dtKEXqUN/DrFmuAMmK2fFcvpktwn4Njd8DHvvr2qqeP9Xmu3KzkG8s7l3+VOELB9nNIYI6UL8Shwf7nFi0N8muhwAbAmI1ppkAdgiofJns4EePTvuZVq3Haa4gpJr8XoQwZdRZ+53c5o76fzWSUeJzEvmk0kU3rj4blBZj7Sed1DpyTBGFbesPyHavG1S7YX22ZCIYgApO/hKVxchqmwxepxVe4izYhrILdCOIhNwHwRIRfQ2PnONnjgs/wgY7IkXy04VZ0O8xWjJECJ98lC+KMWOyFL0Dyah49lRxF8eDTFWNPgi+ccJxTClpesj3aXrMkvD4p3Suwe1ndJEk5BeD2bD0O7UfN51tSQ4YFlOD9uylGx5zTZ60wrG56tlG/CWTYKJrOtsJmJw5A5OvY1N1OA56zAfE1KlIZSbFdkHMh1PWgZptCZB249Q/FD23xi6K2hGwgSdQL+l7qmBhA9JeRn6ww944QXzy2JPbzbm1smDaqvuSz83hNZDb5At4RTuMletUooe5hSQEiumg5Y8FYWWSeL05Ur4wcsqZmb5QHLAFEGWBLEpMpXQ89L33Sf2d18HxdqhYxULayBTu5lUCRuB1/VTkOJ6bEDbmQF2PRgTbKVCTuMSfiLucVQQ45AhE8usuVh9EIFIBxp3rrglb8pggj+MZ9sH5uhEeEdniAIeCGU/2OcEkkn/AdsTawxTxTlsLO6Z3P8/E8KHRWbQxMdhYrsOP3wQk7b2JlDc8BYGXqMiwWlI4TEiV9GnD2af0nGWaJxFm2xbK7Rh9nwBenqZOYjWLeg52sHRPxjl3uSHmjaNmDh4wd3Krt78IDUrk8aIWUomXa+H8Bb2TFPN3SshxmvkiKSYkF3zZn2YDw3Dvcf1NZLPc2AsxSYv7GJ19H8SzWxcBI0WeKhR4JBd4e4sr7JheOvTYAqwC2xlZgCZPUPtEVLtfPcS7xid0vKs6vMjfpEtNwRKlsW43u1LKcwo4kl526Crxyk6M/4K43+Gq2orLMekBjQFT8zx6dBj1/az5XitpMhymsg7BQrccsF8947F3H1rP1bSlnOYeQ1++iePgVxdV3NZWwcFhYQ//AXBm1hUT4jmbqzpsO7SGl59hU4WrjlccK5W++4W26kfOUst68w7IPl5IWJoETarH7KAFw74hOdJIIwyCpszHmk4Y3/nPiQMVtghGATe+SYXSqACzmoW6OWTdSKHdjmX7OLZgmb7mtrjG4rPlUjpZdLrz2pGhCrRN/y0WN1ogcu2pM/DyHt1dpgDU7zaKh1iXLSP8gjHoW1LQEkV5s1aek1J5JR6GHtvpLF4kO14zZ4Doygoa1IcB0F796SPtKa+a6u916FmHxsJiLhJuytAI7paBLPZHs4uV88jqTHaNMJLiD1LpSyc+F+pEDojjBYRLmeGRbVEg6Yq5QD3euoGKU2DMs4Od20OBodp/vFmSsPFBMb+ih9a2KYs7FM6QD9qDNTmZtYPrYHaw91uK4Mb7vteqgPsgnRq3pV7r3+k6ROTVeXXagbAlfj2Ht54QI0YrQE0SQ9uqGkCPRW5Sknyx4PBdHcGvFoeHcxtRQ831F0KE9useXsEQ4R5z/Pf4M+HOp3ytjarsLwv8UluPNZUGTEbGWbbgUQUVjZAfc/CjV1Eko7OM2t7Qv9locR/vJlYyo8U4OpSKwd4DCJaPq1oyupsGOOlTrv1hDUCkOW4yT5Ioy9qvjHpOj5R2KELp1ownXQmidPvDHhN/IsfzVg6II6GqSWGYtXBl6YQq0sBaEv8GtEpjXej8tgKbYajUn2POTbp9guppqpgZnsaavQdEY6Gmb62n+2uZgRLQo5sOoSZjlKxaO7tctSobqRUoPvgqxVDFonoDLneAyOFoYl5puXyVzCJ2dIyiJvSCIZo3RhiXTLsMZ9FSgcHcZd8g1m1a+CQl+9KmlsS8r3ZsO64OSSeNAboim4U4jNaJa7SQB5hjMgMkECUETz+fvTHoSdFYeTh1kxbfvX4MDfUSrYxDWbivlfC76wZz6Zmc4d4RlciFC25RI1+UGNofZb6gedullaimtGmpHcTZm+wvVquoYce95SU40MotvGU55z9kyLqIKC5q1k7AfTJCUiNxMzu5rDSLgd3CPnTz1+FidPhHchZ2vCnmFCeFhHWiomaw638YsU4xykQIOj/co1JCBILKiFkmAQn9VgalAh5uZUXu48vOHDjAbCZ+7uRaynJDEGSWa8A9Xf52SyMht2cVGDDAJ7GvvhUxdP/xDayzGl79BWU3/SsVZUwtjlP5x56QkBwRVNTL7etGWv05CWUyQou+BVCS7U1Hnxcilzia4IG50ykXx4ZIYgahz+SOqcMXn4+q3bKjpEOLyhNR1ltBxXc8xBcz8W0slH5WjALGe81LNifshSr9ACvC8kY3hadsWRec47JENXrOQdOTEeeiynjRPy6+ti6TKS5iKAHGg/iIt/bSB9wJHZfkMF04Oby1fa3owMzVJiwABkS9JaB/hm6f20o1M5DYMPmrqldhkSMvzaeSckVF/nUkOHgmv1Akn8cJaS+z+IaVPLJ0pBk0alIv+G0uHH620zP1wgNeEPgPgLF452NWQVrmQSuN5AuIj+OQXJp8uW3KBjc+cUZ6nWssJ3v1DKp0Np/ruzao5A79amG/dpRbvc6W6VuaR5nRkzrnU8B8l/g4GfTNJ0GDso4DcxaboKNRlbEqpLG3J++E8jjaVp0vT291wKf9VAc175WvOsX8ao1eOdSS/4URmX4QrnFSnkoObXkeI0FacPSCn7EZbuXoh3MWZ7vax65jrC/Z1vx77SCeiJeGDBc9EQzugxKmX7H2myjrNrX8TLZ99BZfBvypzU5ipA+DmkcdyJdnOatIEZHeBPW+S4oAe8Mg41+eoaEzIohLZFMY6KT8ABGgCVcwQo77SkXbYhlKEhWLsYjwnr1iRkK6yH2giGpGpI1bb+zLd9hMyOSlxwJAm3F20hdz0o4UfU+3OiPW9LusvQGHhYr2/bKF0yJKwPl7gjP6prCFD5qj8DlAW3DpKcKvI9EnW1n5rCqb+70wHBWhN8JVyT4OUWxWLs1mmVEYOfDe36iZaMFsjoHC7Akq3fb1Ga0dglFxUjH59ScA9IazFqNJxm7myG/UeiXdnyHKDi5SuOQ9KC0CG+MQqCWOEUPD5OKZS23RRFp3E1XrwBdZRDb380aC1ZXGcOi/5nqoppIPJSR9mWS/Job7kquILZho9lJZd6J+LgfxiVltfukqSXf9w8ss0Kxi0lphcX40I5xCUs4ohKEOZVNguvTifOvmivgIcSOi5ZOXv7B2c966iEYBgl/Ga69rxAtNhUGQKltaJMGSckUuQsS/ZHm4kwaDyFYsNJi9oz83yQ4+yJFgYifNS+b3oRKOyqV2JDmoOTmu6yXyaUvRgM3qOAgEDlsk2RCyrNnVFqx9quvYeKuf9ytS0BXdpHrsIUVilRgH/QgyvEkfe/4sxXqo42Mm93Z5nqBjPwHo8rkPDior5MSPSPfSPBg+E5MpMhTD5vEijz3F6gNRBsP/qxBVaRHaRB2YcwoN14wfFH/YYEONnirhmr2LknkRLSXvjG7zqM0X5RRQIs6bE1OU9+07xBcrvJfNFVZ6986xes1pYvg70BkA+oGxj7j6wUj0Lj+n6DT0Jct4P80cVfaE6g5NwHEGAsSbmVb3QkRMCjR6Yb9XY6EwiuhTxfJR+bB5DzUUFaDKq/Ux3ATj336ryVk54MolksX8xkcqYxpjrTzbkCibBmxsSNsirl75VNmdg1j4+s2A9GUKSg4XY7QgTgdk0fFRsxybWWCUKiQfZdeaa70SWiaOvgqp9M6vLP6B/Z62dklDmr1fxp9EYWqj8bE7CVX/KRQpz6D31g/WcihsRfKOGEKRb5UXMKxANvr6LfXPQYMR0xF6CjuP5MziuTSo4R+Xw1sO9XXKhUvwXmgMc29WsXLV57gUTBWUtPG07eRO6njAM7kA+hohFtbe/4KyookMfKDryyh3WtQF9eCDmeNhO7KT5vnxT3LsAgOkI67gq9YCKL8ef3KdvUJKa0yFTxNOHaYqIzbVDJTx/G74tlOVLaEqse45WjWZvmaPRL8jYPyYo4EQeX4vKzHzFKBEuMGU+lbb8rCIBnPAqjriUGgq8PPcWpdw92ldmgp6OcBTr9n7r9pZJOBMabvHolwzSLXW6JHFBRO59ZruAz89vWr6WAcwVnVs5PiHEkxkSDPerweNjudxDPpnvoLxXHXT/3FF9Gb7Yo8tAaCW6iXfcz08Stjy8Vkp7FweGBW5Z+fgzZs1ZGPRuayRP2ZfCEDAfzBF8O0L78Ke5nwFIrRExFKiRAeyz1mej3J3tqhSFm20ViiT8LMbbS1/jwSV6zjRvdi3Mi7CXNc4qQLhqtNNAtkyfdeKd6xwacRi+VV91xXRdn0HPCEf3AfMA13ku2F3uvQzTii/g0ykfXsFX1pc4m+wEirY/CqReCqJe/n5zh5zF8WviKOJjcP83mzJ6Gd6N7628A1qJEprP24OqG9zv8R86UfA3iHgP883flVtPoh7mOwpWlMp3nHeXvrRZzUWpT/e41sibEaZFpzkPIRdGGTn7Nm5O0IWSHFvDo/NpDGF0hdUb4M+bcya9BBfgv260VRj5AIkpOHK5eykNdh5MGvYZCvTbqW5RtRsDKKKEepTOguCd0sjJAoZcYLdvUm7TrVgHglxk9R09o/wF6LQWc0fI1Myy8fhwtCwhRRgQ/THJ1r1WX1cJLWOi/PR92cLlQxl9jtFyUkzyuA3R68AwoHN1AZ0g+LF2v1vXvxf8AKqF1xh3c/T66AZ0SQPBZSY3RI/MR8ERn0LhwuO6HWV4yE4uDLvz69ojq/167RxtHWAcQG/fSvzf+osSwv15P7ZVjTRn06fDU20HsKkM81stZQ1wzzZIFCy0FcVZuOFL0dQ8vR4p8zmVcCHaYZk04FjXU3Nmeirz5o6wGoyHpYgqRpXx96jnuLt1SVlRZ7LBDGRsjT+YUlwuPSgk5aY3p5OoAK+1wScFvTUHckc8GSJQUfqaArn5JW7Q/htJazyfTeJ77riGanZIAgPeRLj6zXRUR5I5Akfm9VG2HwezcdT/plm71Bkp4CCBjOIo0b+5gaoeskNVjPT/cw8gdK2te9ecoovsre2genMNc6AxIylr8RBCwOOU/S9TtWR71WHQ5ddaYYPurUKsT3/m3NZjR8v6EET26EhX8xTtb42fiZXqM+6bp0FBKa6nNiawGGOmajSGfBNHxvIYrqaoZTDToQLL/qERMJCNwjJn+DF0JMaFjwePlaKqQ0cq3aqjx62KOTImQVkkTyUu9P2qTCUO+iTF2pmwRoAhUXFXp9TnyvUGDiuPopFiXOwlqgWO7s+IaTF6Tq82CBnDkJxZdi9Kf5l8NJAyrZcki253qAH9vntJApIYwEBJstf4RYusosfLhczSS4j4tr5MzrBYS0FVWoP7Si9y5Nky0EoAAbMtPgkg/oaR/HKDidHnRNuMiZwfw4hJhg4/V2R7wNR3uBowIZRBbMRTDQyw72ULNYTm+uLIL0DyqrmTNUGQmusZokLk0ojUb6WfUMPaH6hqELrqs4PArrMmTOh72pPr+cEc/lr6Q7Urmo2prsKVZSuz4rZDa/YEGDSy0+pWneH+hCr/QHAY/rEUlDt2UkLfcrOIMDN+WiiUiny1DEerDIvMbishDLGNEWgnPMJBF9RD3CNbiLnOM6r4JOBC+3dJ1YNKIBj8gdha8X1+MNXboHHeTEK966sbvXJr0y+3lQh1206WCku6Waqgr28zl7SH3mvCRSzUmwyONcPw+QuD3Jwepg0H7w8gCIPuRm2RU7yaQXzdMDhLCLC3JJFUe161FfqirBVhh3hyhIarkxQ5Yi/MAUZvmrm3WSln1AenNGwCtOa+fZpD2Qg2f3l0QNHYBcqFI9tMTzk6xfnY2mptcFdE7sDN0rnt6BxJuU9qwSaHBiz1RILTO6bhX5Z2uQwNV56R2KDefYnzMZ3tgEnhBRdvq6ElxLxHFW83bfxKBVmHmXi/bMG6NP4eGwMLDHHVjyewvMaK1dbq2Qs6NDnlzRe0gD25y4NL2cp45mJkpWd1X4Oi5211lZ1NemzOrzv/Ngv3VT0uDOkO+nO2BLexQNCd9GPH8RkAFACvpu+2Msbac2eL+VUkEXO3SqeUyEZNnZsuQf0Eg/OMMzxKxF3ll+KI4my9wyA1fJp3R2xkcN6PsrpAd4IG6wo+TBrHRU9qhvqWlkdwRW9Mi0pgaTpa4cjxbn5G57rUxnLbZYRYxeZEjzLVM/KMFczA3qQTxkkBYUXmlibBJCkUKIUF8aiKrCyprrUML8uNXSBfmK5MNwbENAiYZShYr/TJ4WGBeU+UBizzk5ssjzteFo77pIwjg9yDHn1pljcHbPic2Z8NBpvlSNSq6jmLxPDMebElupUEhZbgxgLY850EQEEssNtTc0nPl8iZiBONvEs37qhyD0aaBxQ2EZtFjkPzSq8vonZqXE98u5IirIOijUvvtb5R3/PceWQXCrmpUwYbjGub3m5PNPYJtYbmN6z3514YP0s+/05Wyc4456FGk70J25T7UNByrQazBUnqiIF7F+V0raTLJXcsc+WKVYQd2jdpmHvNDBIKZmPhUG+U3bjDhU3gXks/F1KvyE6HPyzfPF9iyT/TjEvSUvDl36iQrmCUozDcSsE3aEnLfEVeT4Ns+ovcnLZtMMtuPlY6H3Mi9V13560mK/nxnGFlKbNVwF2CgHpIS7gilg9EgC1c8Ut2CGwvLGgkLP+Ua2b9cNv5Gi0trUBnif/tG7C6KkAbHLRIEayQ4EUm0LD4FRS4OipJ3yL2Kk1QNhaMdrytMAIqR5ExFQvXf2+G1P/mxTuRrLxA0uWvvZfTbhc4JzvdqN/2lGuOjrV2QZ2anNIQuesweZQm8X+TWgTFyymem7/7UnMYESoq414F31R9ysCnmuNKhRkP6EIjEYkamI/7RhHKjg70rlV3q5IZeegLhvp1KD3NV5rxZgWwsyo4l2ms6n8GcNF+cyak7LRFg85iP9B63LTgzc86WlR7rlBboavYBLsxkVUHxDzoSoCwpDKnlgJRO/kO7QfMfcl1tusznGjC04acyiFCzDAFwYQWntdiX9hTlVHblmCPZLgDVOs9Q2PhUI15EDOTv2xZGsZ1+YO6nSIdPe70ZNoG5Kl2gh3moK+yjZLNmU67ubPkKdkjhZxtjpJYSva2H7o/fFrK4vAVBmutb4Y5fDhc503G85gYHavR6NLHfqY1UHtCjkxeqr/A+/mqSGyxDRnnWYMRK0/fwIQYfuiIng1QI8NVuHpcSQZkJtHQMh5LL+0G6wzmWahGY/cDqrakdajErG/zMGz/RN1Mz7HzwyggsJ5wiXqXMiJJKmnrGn5JsrTLW/es4AqJMd/7pTZHV2522owv2eXdCYtOj1z7LeqRp3tGenjGySt6iiL2Kbg7tF4sg7bVgWiYyn7Jn3pM2b0bNmoWIHcOUWl/Y6ET6QtQbbbx6mQwPa0wFY/v7dS9KNe+//lFuOcXSaXuFNTX2epzWwx32+SZgYULEDmolZT8wL5jq8Ua1YDI4mvPfoO7ERYDWPrjkk1J/RDORdwtxN0DeYadEcyc3hHCqlIQacaXEAxrSXeJ6FqbbmAJoDy3qFX33RaDhVxV6ZsLJUStRHgbRjNIFLwk20/DEv6nDAOBEChzKoKPbIyRCHz9I3WoFdTFndfjlb8ifjspYJjDTGPkxDbVrikobsPyFSlwqyyWGUyH9xu/vpb2PFUzQFK2iDUEgB4wa6qNWacvjHEK6alOaqC9ky/v4uyBh/aXnyoYpUe8GSaauJT9qX/k4cJGsnYg5us1nj8mFZ5DcsC/a8cMfGwUrXk/JjrAUbiG/KUIon8c8PrFgif1p9ve1SNXn4fSqeKrthkPcNtdo9/BOaHKBxpuV4ii8nOjBLW8jl46NH7pg3P8L5tJ9Nsyi+fEA50NaN48RrvQ1LgFBjbgKTwvFylzHkQKtZqVYvi3EzxQaOkJH3FU7HXqynXmqgCSzwhO3NXubY40uCSUGyfvf4MYefskeHTJ56T4cmS5Rw0Mj6/Px7wsYI1DbualE7crro4yi7A9zHQtSsfjw/UDJEtrNE2RgQIPuoflcA/5lWHif2F1XbtxyiVixgZfS7dJEdfT8eJvoO2PzGQ5S56S8mvquXI/evI3dEf5xUROB7T9+dY8a0/qnn4wdKadJMuEBbWycQQa9UKHoiCisyQfLReqt3bta1nUybGJ7ke5n+pbJGCFzWasl0USQLU467a8sudEoNATtzfyOsJWJ1i8STW9VoTcJMbD58oxmjONzYT16znb17JxFe3TkfxNAnzMy7hP/qdpvDpol3mGeDnM9Oi7TXM10xicHOBfGERvAjIbdvNiRAOfVmGo7br6pNOo+2XsXhB5xk3br2LcztgnWQKGuMajJlD2j4g9jg7A4Y0Iv2I7nNff83wkvto1vpUht2ep9lXYR9zGwUTnOvfT/LJ481WjN0MG8n0HY0EBcOac2sb/mY1PXKldqqO4JDUje6qXyKvLDCK+/sjrsrzEQwUEF+ejsBppLgUT7blfEUqPZ2+hI+ZgL49sOyzX9zwGivnqzJ5ZNaA3leen59Itl4FIvHg28w9LlUm21noU+eUtOgF/c/rkYm8WYVNakt2vi/W9uVeT2cm5FzlIhJBbzSz9kYVNTXOzd7SKywtLGq3DXRRg+e14COFKMpp27EU7fJcGBuC8vbKhFZDOiWnNmtsnJjCM9dAjhMtXegIRwHuY03CsFWb9LhESlEarqxFBJVfGwvFlHzXvs5DzATPYUeEUpczO6OuyW2XufpSvKZPHTtbwkHTGDhEaE04Eot67jzlrZCLMmqO4IZ5IuuLWnOzojARyOu7nDEJ1aGR+uNlI8GT0qqk1oo6WiIQCDPuB/W71Thm7XZyWk5acQjb37Gw4lkC2xe4SsoQw0KTMW6SPkrcOK0tyZ9bxPxi4YsR4UvULuTVUeBDRmFBNunaP93VsOXtaASWC40fHR8b3CCthsDnRhnH6JrIEzVPrxsLBg9/4Ya//3gc5CA/NxJuOYrjO/j4YdtlYYzTdznqBhROigjenHQ8Wn4Hi0Dd2DnFIaLyNd5b8vWx5tSdC0sWz32VSvzghtbTqcuaVVjps9C51osso8kFakfUDvEy5KfyIxx91ZsJSNhwvTfZFoDRdL8ONxtdQTdrWho16gCH2Iww0OGF/PtUOq01cQaugeBIM9AomeZoEXZcutsU6o0AvPCE0WPXG15/6v54ECm0spa6W591RfsJdhsmjSDoKYwfRk0smF+0JguKnRRK261lwTGxFbJjgUvje0ZhrHMAfrbVhVq0u1LbZlOWGQMIdJuM9a6fFyVeT/lG4AZpbaZENQ83VeYhAATgL1vobB5Cjbced8QrLVTJ2GY7ZAL9mzOVH2Bg0BCNTrno6G28Y7e8jQJH4P3LcTI6Ee3j09mi/Yb9BH9eoOPC5XemEcHhMXFpuuF757ATIxM/t339m3+bbafgXHsqyy+2EwhPGFYC5nU/S4JZT+zILJLQK/MFUoknz4qD8lbjc0eVWuN/46xl3FVyPVbjlGB7h1Ffw7ePPAZnCSMXLv6L/wOAu07nZXDxOeDu7jyoh6Bo2H252U+TCLXXL/jt3mdx6wGYCGM/F2ETMlQKy7n0GhlsX77Wm/DiJf+5Dr/nKNwvKmFDTnGmxEobb5/bGV6+z5+BbQIZPqnbwQh2PmTjzokHwE5sYAoc59koeTILLQtEr0PhPbPwfF8fmPh7+JSsJ0Z/lWb0m8yIYghKryH9oacZJh5hC+D1tj5yTNuvqXlCzu81jGGhAJx9GveHwA+nE9kyquWdgKSmPpR7hWDudUxEbU+HfGeGqXm2RL/FipoZpdOX02cZabpXw4Gd8Y5+5njY+83IA5htavaTT8eWA/zBclDBzjVTfuvGJGoHClV0vdGopwsKit4eyWr5T2xBfiUD1O19QE+RTHr4EiLW+jnNfTllmBJNW4aN5BiKloW+RWzY4ziToYO6/78PfCja4hWT//47tGXdSHqi2Q37kGfTp1W7AEhWt56PXNdIa+sjOCRAnmGUZ/UyQF+va7oto9b0HvAv+URHfEOjOlEtpGK7AiG7gITJ4BWQ7tCZZ/dOJ3RC6XEUdv6wfxR7yazMi23/rx5SGe3Lkb8qUKJjcgyoaaE3tcdsaaovarJM2+SwlDUhagw9v+y7909tfxDly2S+lOh0O+KTIdO73yWOvWUxkyk+7nfGaJArByoHobEr5aUJRqrXcRiynI8y4oycqkfSEqZ+X+v4zYdUMvk628jIRl0Mg2vZwVtnvuxB963mAGxUh7en3/f3g9tVM29GCrevK+0HcPdkjXSU6jriOLif/D4sIksqdSE6+WrJ2wEEXeJTWsS/8XQzF40BGgH5tUEI+ARLSBfg/5tHji7OytNt8MOBPpNT0RmjfrFv+DYqXaV0090ylpN3ESjAQhBNdD2WLGM10gCm+KElAAdhgj/8hC35Wa8XvWcll8div+ZOKIzjjKzxMR4jTllfODutJrcgibfbeF8DV9s+l0Fo0EFNCHCKkuBqViNb6lnf7TeuSkyT9sQFmXy4GNrHufSlNQSaRG7SGRG/q4efXidocMiy/PKxXw6Od7NbDWCIt8owq7Ur084OIZg8x+tR74wPU9/cGy4wVyFDYiTLlwLEWvwP0Iw8oE6fReLW356KFUK1/Vu9v9bArDEXSxpjZ9XmIWdC+yqGPx+Nuykcrvm4LZ9DSPbVNFyOCqdAtQ2T8iH7D0jmyfKa9wHhm+z73bOkO/v4GJMpRNY16jDIVkn+L5hjZ4QlXj59mOPjemLbps2C9XJ3XmzjLGW4B60UDrWN9xw67xd293mtLeO8FmpFSJgm4IiTgjOQ9OPQSlbANT36lXHP5uRH0XxjwIf0eP1t2vFcIAQH463CR9K1UquQoCX/VeWRlAy4NSxNF5b1tG3xSGvL+p+8Zkr/LtncNtk4oi1SFGmW8JcVDUOLgPR5NRjsKlTX23i9EFI5pKwCze5PvKLPq+YckffQk+5YHMiV3fnzdMmA5xsqr1zT08wviWSveVffm4A1UjneloGsiKdJhS/oRdUuICcAmCxL8xvRNNTbg3tQmXEf1WGNE80ec9pmbtnlMSjs0h2WJZ5YJ9noTC/3tvv4SNBp5WcJL68Zb2/fjebs0ybRGHUyrhBqec6hk4fSwi33xpLanUfVEYMwldJuIMukVcd8jRnXpVND5FrqAbVdagaxSogqbtf8FP97iLlno8QFdW89H3YGbI+TTcAPFYgic6O36WF0KHoaFCAO3Vcdifg9WhXF8UdFpbrsnm+/c3uC6A1aHsPPFTvGHa8NpGON/ObQDDmLHUUrSwDJ4sLH0TpFy4CmlJUwejzJHeunYMbzx+J3OWqUJ9RsRqRyZL39c1Ca47i0kmOXscUWB8G4cFKysTRLVXToNXGpiiFRpIpP0d0eJffn3hNU9uuVycHcKlF/lxEHhUJo9OU9C2MYXyQDWhmqOhiOFXXENiR2YjPqdu2WN5oiBaleKXsAISyLcLY5foi0HVPmbtNEapAVyRlsb50Edv+QnZab4OjdZIIf8dYApQ/GiNqDYsy9sq2tUr6clu6duBgdJ+ye6Pw3a4fgl2Dyk0LSoTmEn1PzPJ30MbJM6a88MiNonhZvvvNOiKuBtcS1gmhALB6uI5nzyBmgWBiMCmfgvpJ6TieLusX/vla76huRHpWobBrbz83gB7xyvHE+AL5RUUuzvx7D1OyYq9yOnLjM+NKd3V+fITyaoYglBMZMg1NK+GSu0lKlvLwhFthNddHQGXHICPyHanF1wyTSswJSikOzmajiageJ59LwkySVnkGjQwTUkPi4FWTAc6YMDIbLqb9uMgb+EQrM/iHLzLE21oML20Q/PVqPA2fJqcfibpz5NV3HF/9/+XLBs2xH3XhH/jZN7Ldz9vY4YkpUraDx71xcmqIYwOH9d44QA68U1cFcf0OTsksEgT9bIA6zvkYG9Yq/vDZ2nzVIOc9Hnm8WvWqjJVOv2Fg6nlApfKH4YS4YT2pBfAdwNnld2BPlYhyIHZwHtdSwn0hDg8d8Roy5LMr3EakFQRUU0nUplQdb6E67t06mwUQ27/DaYEEhjR41JCA2VDZ16ldzv/6gQmSO6ozNIbvdumTvsDy+8lV6vb7rngLXfCB9HpYWEMZFTWpLGoDkOiQWdilz+QuB1POAoUDRaJ2wY18SWlNFOJ9B4YdWz81fNrW4VAbX5Lf7NKcHhWs2PhB6jLESm96+s2iI70VRYik+ecyBvHhnjdTIzGFoA7kJRzxO7LxbrCq56Obb63g+qUT5u0+Qy0yUidi/TPTIYpa0aThpiPNryJNtLj7zKUsNeYnNYVz0xhh+SsEvhOcAsrIDl2FwzHqwuXlNhgFp3L+Qff/q/zO6l7GoFAiuRjza3oCaS0NagkCabQjSWiX9yE4ClTMhQczYELtXyryGCVYwoRcAKTf8NFc2+KRckkexFjeQGzLbLtupfntYKBcbDCFkk9yFI9LIFIa1uqz0lsb0E+B1Xy6xS5jAo/7KklXxHybL1afNr9pEYUXldlveI4esxr3uP+xx99XQ0kyj7NNYpWUDwyEeWXQN2UxGbs+3uqMjFH8UZ2ORGJ6jf11U+Yq9tycyzyd9JIZhKuu/EobMTU+Gc63eIXje3ft7GeAnlqA5otWJMhXdOa95Gkxsvbh3klHhdEGC7trA2BNPQRBKjvoUON9+NIXr/doaX1ZEt40ypyO6c37UDJhPoVV0bGbHCy7+45GzGo02iBmif99/5+ndoJrUruOW4DA6KvqoOC9g36ZfrC74LdTigHCK8lPLR3mEoBelvALGX3Bd829b307SmxznEop0rqTiXeepk4JaRz0OT4WyEOkE9zze5FDH6VTRmXYdKcZDND6FGdlTnhl2nuIE95Ov882AJr0gPpS40muuGzjsZTjsSMz+t3QD7eu7nvnThyfC6npHGeO6opSAmxHrii1sf9cdDQAjZHBXD3EyX07H5EO5Ez80Va+7waaeM0w6sNDS+XZb9EBXNe7jBrAu+ogE/G3LSt/SCMjrI7F1NjhGvSv7Jv9mDn9wflwrtb2/qm7WckTSTyQ5qgJzaawVzOlwm2CSK0UUC29TJJ+Bnv7OgyR5VIoPmUNAvvt4nCL0xVoU8HbIQzT9AYTzLFTQK4jK0Tfti4uT6bWH9Ma9nisuIdEkwhv0a1E49R4ZGRG5KFmY1KyjyNGHGzrKEvW1fbPBmQDbPhOBySy1mnsxyFDlobXIo9Se+xKjjjDu6OQeisEAZQB1Z2cWnU1hIzYoGqxlTmD2l9nJNpjNASngPzJZLmOd73RUppKPlQ80dY7omsQK+A8SpBs+F60yzKWwXM0MR+pzoIH75C0QRlLIjqcr5Nr5DaH8+shoOxh5/vbC7WtLP5cdl5a5v2zUNbkA4uushUZ3Ow1I+iYS8+AHNR7lRFjJGQqAwXNPRc6lvX7Alg14j3pJOP0UR8XcbElk4ODsgx9hZmOrHRv7dfyPfPWGM5de+TQGk6My3BgeZz1cfLzaNfsKcdShxQm6Shmp/Zq/3SOJuaIcEmyavUEe7R2WQEcCFrrHK64AL/CnSN8rSp9k6DGkESNDdXB6WZNr1nG3Es0arnUU1uys1Kx5DJAog5y/xO8YIU0Rz9kW+pB8FAaZaBbNoG21Y1feao6kl2R6ebiLk/sX1+M0KjwBBP4ZjHOD4diEq56797nY8b9qYkjMVGUaxs2MLITnCo5nAOTM9V0iaMwYPgd8gvWplDatzMSBfzu45+jfG0+1M+Ku7/EytAabXP4h1sI87zhev6X3cFD+Ialv1mR3HV9QLfT2sQPjnZEq9TlIRVsmq6O83e+Rv7FAl0IHVBFBCQ0N8zHMe42Xvi4TGOg3ZevPXvHFWMHl6uwf47A9FbvTAtt35J9NZHGEnJUgsokxvv+/qc6ZMQjmIuMfe1gDOuBqvXuPIXoVFhXS9EmWulzG5NJSV5lNkb9vI7k0LIQ++vEvs8ux5OFuTjPq2I/suQQznHpMWGJYUpcMyiZqNoP6NjbjrjbsBbvBPkRBvuRSAHkyJ5kegmS7cIF+74kNz2ACFz6z8fVqwfa+PUYFv9dksPBHCkyafU68cBn0mCfCPhsTbZalHIBuetGqnLFEgkIuDs9evXfSCCiS128mYia8MJ8+uWJ1Ovmw+ZySZRQM2ENhkaDpHpASQn/yz+OwgWrYC6qgCGCFCIOQjSg8K7N6yn1lI4o4fMvzetHyFPp+JF861yScZ8XqP8/Of+fpeG8KibtIKuHVkENLJMq8Ls7qY0/Nle5YPaj9vSEMMlzH9j5XQeWz+0/2APbP0VNt71buW33JP7rC4z/cK2jcVlmXJZJsacgIcz0MEDG2ARNLJXj+XruszNrBeWb72T4z2VHdtY5vgxeL5VKSJlCIrEfayhDfNJexWA11pKowFZEjjM4ObeklotgYnx3SxaUNaqcpMr/Uo4ckAmhXRyLetXDeORhevtjsycFqvyLT6WWSgcn6I5znmiYA21IuoommMG0JlyjCU2JtTPTFBmoOwAEx3ngXvJ/+fN/kHTKL6YVvr7L7eJxY5633wxrs7SCaxF/rjis11tzfj2Fj+pqoR9uE6P0XrqB9vz9nTlzsSstZxQN0yMkEzV/PiZnthkaiwVw1kMt0ShmITkqyo/ZEAlEevx2FEy9q0tnYGsyBVfZYriLH4Y8Zfr77JUEZs36LpLC2tkeTDIDujVgHE0/jtiGxFEsWXPly616Lv7AUQx67iLeOLkW3LRB71WROfM+FumnYSmf/QWgWxNFk+HfNfkBYyU4kU4Pa8B0FDSO37dEv21ONV8qJ6v4Uqgo2Hi9OcDVZLuA7zcPXDNOdYMTTObF74UBgFijNUCKmDGTwRsKZiSA4Q6giuim/1j3TyqJXw3Efqc8IHhv9O+1XpTmv+LZb3hDh7AvyFKkNoVAabrKtwQft/Ddvgg49enj9LubXEtpMRdoCkQzk+EQQx6xrHFfs3kakO0KMi9A6AvI+bl31FWPFYLjk9MUKYJ07FmCnDIQtBRaO1736XR1S+c1OApetg/11me2KUhR9Xx/XESktI5aDMHhncY7E4DxewINNsqeEwSUpoa5mflkVwEcBYGBhA8nufQTJZF81BgWOaeVSdMt7gUj+rOus3EdSp48+rL0MF7GhPyTsY0vIfzL9j+kSYTnjKQ0WMAZk3WBd9TBsAOTiAxq2z5TXlN/YdM9GGAYwsom9rHrmbPj/DLWKs0zxbUorZS6ON0p1xICOxghrEwfmYRteNdzv3Guwf7t0qbVKfYs6xZDpasxA0+HonGMR1hTLRS4RlC1sJq9VpiYuDE5LrW/lA3+bp+YW1660Qx8UhPVVfbQbiX1S8kIHOVYEON+KaUcMvzlhWCqZuV+bZ9JBrG+TEBlj7EwPA0qO2ObMGFKLdQrpHXRtqu4VTJ0udr1R8OXGB0l1Xljc76E7lRnmtYQa8qElep+WVy/iWPGuTF1oF4XpU7JC5EoCIX7/YS9XrLN5B7QgNF9y1j/IVywgIZow54G0YvTbwejnyP2SKgyYg8BjU5DzqbwujaojQBpTshO7NtuRqPY19QefNZBNBBsK52PZ1RiZ/kWJR8ax1a1V7ozCle8+NHUW+0nLb/glKHNYPsIckIC95E+gK+CIlXQpYJySQCqhhTeg2t+Rh8WcaiXWAep+WTaHJx60b3R6tPP2hVUB9bmFgmES3ioTefY9FIqgzp/1Bd5eVIlb4ySJlKsi7Ge3/M81ULJd1FIw8Fysc/zHMoJmTBQn/3dGcsQ+cGmlqGD6AcEOnkdpLHvL3RghzI1DIBFD1ufnuO377Q2+d9ZY030iyk6NzWvJtwQwFhSxEgzAt9jjolR60GD/86bZrOj3GO78hGdjThvqgBWmYqjlM1RHlDEW9EulD3X8YEeIk/d3aCOwgZWrBOSLBeuK4QxrtK20BZLss+ALypyhy1XV4OsM3i3DIxgvnmspePuclRwRKIme8yT6yN+6UqFOsdZMVDHCkPi10tfE3K5AkhB2hxvNFPPH8BGaYxEU2lXGbaBtxjqy1j/Dd/DmLJKB8Htf1xTLps+hM2abSRH4lDwYbfAhFNvinCigY537zl6HrqX1423oJcJJIb/Gl8DC7C9Ep2IaI4Mxq67IHa1b4ahtdelZjE7tlJwfRLsAbU+QAsPBu6ejoRTYa+rpZZD5mCzic0YTnaAGiD/DWcsXsjj8Zg8f2JAwd67uU5pq+FXpVoX1+YRrPRttg4/2WypcbUmEOMAk5rwz8TQ7zCAnPv4xkQBn1czGhicAOee34DBnTaRZ8ORRenGcEKOj6Vi0k8nKJWKkoApX9jQhc0S1JybL3FR5Tl5G1GJ6iPCUI11PFozMxEK/E9y3OWHIf8dMg1QJ1rgiXqDN1aDUKqzsdGSrliitI/y9Um7qvVQwlJdIlUhzQfGtQDqiHBBc46zEdD2eovtyhP19dDXJgXk+r2dBYoBpVRyszTELZukr/8A8XSW1yOurHnqLtkn+VruguH4xq9gCgcLX0V5JkwvQQboRGlQ9eS1ctFm9s9mNy6hm7HeubAX1AYy6bZ5xP01SkhkEBJ1JHUxCciztHy3L/bx/kELnGJjAfZCH8NuW0pIwbVrYD2ip3aiowJS/JQustMXeql72fP1TfsQbVfn5E6hWmU8CYJ4IPegYUVHEV43W3ax1m4g1e9UbW0JUpGyMccLi2FJ3uN4v08ZWLq4fhRVZIvrWbR1ap+aP6u+PJ1x5kYyZGtvZ141QpaSO3HPR5p9Xd9W80EvRL13XZL8Xr0M+9C7Vb4M5xWXxzRtogvYnVdpGFRptsjjrYQyrmIINq1ExBO8xNAUCvjlh21JvBsJz2urL6qIqZvAhtAUoDpeEWbfnZMA2bw2fMSxQq0+4BofgWNxpUZBJpaIHCaLkQldT/8jJaFJgKf/koMN9xe89oFM0VxEVnJ+ieA2NUv3YucWFv34MAUyUicWZgaRgsxGGGuyFUt3Wt8xmQFkmNU2qfS3J883qhIUbuBtBvJYCS1yTPY17mzoGOmg7xG/oNL2axYIqRZAb99zx9re+uc0aiQITsksyExIilRm5eo5l1RKPYiCwrVkJBwuaSsORBOYo+p/Q0GhGTE4D1Udfpw4tLohLl1qys95NyrMfhIQXL1atfGqvgiUkJtPXKIOHxj/GdQYNaDCkXhLZAEIivvhxrb9cbnm2ZaWD1GyMNO/ZDsrz3bD8Go7KnQJd819iyPsMLsPajrnkBKDbWU6TghJBROWfPJjQ/lm8SzZbbHlauli468r9YFwMvaeRYEQqZvs4f89Eu0TJ0aDCD0fkzkEywuGcHvKqt5Hs9pn1Gj5eaPbXiBtIUoP/o5HkMksRqZYmU/x4m8TCHSHEUxVK9g6Mwuc9WEykoPbAS3/VZrMoYsIr29I4CVXOXa57lTmzC0nn9e5onzgXGwxTqo4eEyIqDfxysS3HWzZcNCHh/sOk5mJ97WtPNkxVaWGHtQIxeLouIZ9lzEd78sjL85JLBviCq9vNj/c3W62S9qHbvr8TesmOzhxrNJ7HzLcfmc7g5TUxG6rYD6kfCYoljJmALhc3KulVOqApPbzENkUBy+CiG5mvvHTeCVJ6K5cpy9J6EUpKGjWYeangz3+U9WXluIPDcwzo3ednq4Id1Q11HuS5DPP9aUKIDTXzMwPwa+paBZJ7iEUtFRqHR5I4U7eSRGvu56melzMhkL62QM7ZSOSBKiA04Ca03wydWNauuM6LQ23X43O5IOJFxhfZ5C/ULhv8yJLvG0t0g1ef0OwRX6lAFpLXdm2LL7ZRFyqBZa/UYpPsVc5afIQ4Fpv0b6UseIyd/lEcNMiB8rGuAnSjY1Y9tq18JpdKASaPr1V379nMwWrNJOXFCT6jNpswFdM8W5rX0ppvPMPxo33zozY1TcCrRDxj8yYwOKU+GTJnkjikWhJOxKk2mDupt8znQJIk5o8yZz+W9JBsA744JYXeTheNW4itkBHevPJxMfFLZ/Ia5ItWW4ebNgtQyOxwbnHeZRTiq9ovzEeCUR/xQJY0njbS3iGQACOHLwpLm9UoapUP2u7TpvnQ0jyz56o37LymaqfK+7rZlQt4UxPKygwrznyaw3+suKJLaAG7x9WnLCtDjEs6icK+nbzxR/Hs6jnSpQP9HpWEI1jUEfu7WiKt71eh7CL0KY2C1CNHYuhKtHKo75Dpwm1GEOoVv3OSILuDjyHQgt4Yt2kwCPR69CpJ3eCjKVuoRmEuZ+FTo2Cr6FtiWYG8VkP5zgViv7Hfg2aNRsZfZjwaJiCRT5tBhttL79j/hCJfWRpE3QI40d5X425NW9l2baA99/38lkr5kxCnRcrUBkq5XEIZa1iyLYsutcbCsj6YF18XP/bAkdNZOYDLrPjD+Pd7k1TNTqEUZ2fJoe+/glshaAuWOK74YdkxFEcQzn6BYbTVrP5yw8RsBN0WTUZzCbP0secx8LBrlioGK16Vi/9PAnwyoyQkm2qyOz7A1/ZbgRQXq0BuePtKU/LcKJtK0VoN64gF16l6jpli3UocxGlbsGKEtswPGau7+EQYn+UV4bFxl1aurdJVHty9SNvn6k1IeiQFwDmRYjRVHt6OfCNiQwkYqCE9H+tDo5OSaeHuEweu+QSaFWdHgyvD6kf9uZA5W7jvpfAPWvx6ri8nCb5uLce2utOmbvppa7//fa0UxeupqASfCICgMyPQKVEWNmUaaRK0OimhPjvykG/xw4cwxFGL7TJHLhmYbp7o+gRqV6gPRpqrheP3p0YyR0J205Mr52tDTU1PAeGXJTkjnbrhZgQ5Arb+EqMvZku7jgQkrUazWLJdVEojDUDP3RI9DzQYi8DkB14fCa+w+U2Ak+H7WegEmxrj4wKGMR4JeN7XZ0ocS8vnu1jzjwSAwbFgd3qSlqsakUWkHOdN2PPnvAior6+P1y1FVOYQl0MqTyZwn6BzNKDx6TeNopF6fNSoOQDk/LvZgLFYpRGk8s8L2MIDFDwgXsmK1o53OZ/HQKyU+kfW2lSLPdNeAm2EXOFvvxyadP9o/U7Hh3sj4bmGH1wL2Z7kA2l5U9llEFO">
            <a:extLst>
              <a:ext uri="{FF2B5EF4-FFF2-40B4-BE49-F238E27FC236}">
                <a16:creationId xmlns:a16="http://schemas.microsoft.com/office/drawing/2014/main" id="{7E51D283-AEEC-4349-AA01-F026C93CE622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715546" y="1040173"/>
            <a:ext cx="6371662" cy="2324943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4" name="Retângulo 3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sV8rwKvaS6/2EeGuNFci7PweU0U459d4qlGrmoefvb1HK7chl0IU0l5EPYjAAc/0l8Zsjgr5nOe0ngwATKBSwQRI58vAVSAxQ3e+qqVQLG1JGLzySaii2fC5NO8ZL1CWY1EsnN0xoEIj/KMvyHWLuefrb9p6OjDjK4yaunUZBFs5Jwe3SkgkUGXonlmIubQtfnSQS+uB7ftiX2TSDzY9J2OYOn5PZYvsU/Ldtd8GX4dUHpbhg10CMBohMNda9sbHx3+RXe6fmynUnOc0US5H9f6dGwhwqKq82pTU8rbeYQB7mICXkMxn1iIh6OshNp1+diGBmksQ/im4Wgx8un0Cm3lk3HZU7VOgn1KeUc08mo920awl7nEE7aYuydoBk7MWbLrzUnOUGlv6W9vrehNnpzlPmozERRhxqNNPAmAhShf9N39MTgAhcG3jq0m3Dqfb8xlx77UzJtsmTfvC/sChnuraYcOqJk7GpushSg+wzM99qqfbAyOsz/rsq2Vzc9yGtPeSmtpOMD23lTzutgPSwIRyLUNp4tZeCswbL8fUkoZ+nzZSjbRwdT5zTaoPUSe7hPeYVnfN3szYiPCB1BANHFDnQAGVzS/OMEIBpbuQqmZoxo8K7Ofc3M31AFuk7XdW0RCmwJgCI+06ShMKxH7hyUeHUf4A3vlfz/4f0oQTuogXx4fUYooNCx+HfapPiW16GvSgCDtET8S4/LhiuyRN7C2WCVEvvEPGeIuO+YH6R+spLvPbRv7cyCmcic6IYeFT0rW2Ax4mQ4wy4rDEnrftSZlS12bls6TBFnLsFVz/UeJMXidwxTz/038Ni3YbxlKAFBk0tWUaBQpgpt5+D6r3mFS25B0U/xewr16mzgiucPrxUvhMhySes31OeEVCRqPP+HsrRVW2wrRmcLS3EraJmdl9tuk02Uswo/G7r9vmNPw+6wu59yFBORBb81Vl9NHbOAYEXwLWJJCG/EHpRw+kX+vpvFTSTD9LKjd3ob33jASGmam2eIRVnPbJ54SmcnXq0rxPNpE7wz6hm+NxorxKOKIit7c2KQj/h/JR+VlQuiMQqYmOfqq6WYp+NhSor9J4bex8elwb2lOmR+mOtuSN0l8jG7FXk38QgnuohKZsZpgshKNBoHFSDY313KdJzPypOCYm9zzraiz4bFQ+Gje1AjZZ9eb0+vJPftT1ht+NsWXO7kZBbF2NSSLT4b4YyA3KwOi5ciosaX0jqOEKx4xncI2v8Nk+BX5pXgg+21eX+wtZXeeHbsMyZth/2fIagdxL2VOgIPm+VrNq6AL5RFxsLis2U2E4y4i+pcDcASyYhP8iHLLoIbyuZswV0WASC83KprRj29N7PQ635u0RPXleEimp3bVhVd7WU+1MJlmGspeUpd+Kj8EIFSLXq8NcLCDKiLTLp9yxSvnrmq3ZTH0CzBZD6kkz7WmNra63BPA8LunUJvSRxGAXyixb32S/1v0W9z+kYOMEfU6vjfFolcQjwf1p9wAc0H1wUMMUwqCvSQKePx71JfkIZAN/cRikPfgRrDgolsaPTXEcoFMk40AkYf5lYZLPD2hYsNb3vMAHczhhaE/IHu6VMLttkN5nMngFuhWqeglDu33QQlhTYcJFv3RRphq7s3H4RmUXVIq11lAMqX6QS5NYMyd0/E2UBL0v6LhikEQvYJ9omtYFjWEQnGrk7bcAhsc7kOWjkReng35aUhPAOE7f61aOG/EiZ4Khbmu3JAiyPn9kvHbJ0ZYsFBm3MRfXL7bJFh3ZEmDsH2HaFhWmrQiu6ziVOPVxD5l00SU2OEWm8Z8iJQ+nm8jxlU2IWPa2DJtDWaVOHjQTS5B8fTnY8o2t6V0QxvWM6MDl5eqtdokbZ5WbfTouvc4FyeevlTpEY4w2Y+Uc6i74hEv2pQTgQiQX3Vf5e+kZ4oVpE6zK/CwW8APlN6+7Ow12HaiUcA8bjG4cFdo5dw0SFQC55cxPyFylWQsM6Ecjy1IakIOnTB5YL5BY4XXMnVLmSFyWvZOTZcNc1mk1fIyjUyHHbJIwpt7amaWOfr4eRL7CwYOnX/BFBqLckXV0TS2ud7gbTZz7thGcn00ZxadUUhm/OoA5CGH1gCvTws/gZO+OKrbFhIcW+6bbYLU0k0nMexN8MJZKBTnZ1YZaYp/owyI4IulJNbCF9A4/FPK0zqoEbNsySukx+3kzw8Zm66yKxSWAY9uCa0YwXcvf6q8KJi6YHZg0+GwTmDo1tHhKj5qxwa760FwuBGbHOtlRFcrY2l4QpuIfsULuqydZ7m78fWm4x5arKDAIZxKkfsQWkYNrvtf25Ubm7j5a0jw2UtOgTGqsXhmIEqlKoRW5DAko7X0K+umbbsTdTCJXkYH3CUKrSesPyu8HqQmx7DU3hHX4HAE9GxfsUYK7/h6IdUndQZs0v1k5U1oL+nQvcbRmGuNeySoWdqRuQ71/uOIfQRuCyNy++2Z/OSTkMyIJ6/45K4oT3QR0U1dObG+EyKXnPNklAIWUG6LxRfqJw7fEzcSd6mMjq1W3cqVPXTPUcXxGs8ZHJNGEzlxGRY/1ahZjHfRMJCq87KqOqFdWCEa5qkoTY/l8PFfOp+uLC8ujtvSS19Lep/8tBSBDivyAs4iGfQ3H/UOagGFoPiOsFAGOiJiXgpX0bHrfNhNI6OcEI98ID4Qv/MJIOSJN736JPE3ZCrlA3qeAzd47mKGr4mu8vHGZecQ0bDl+3ZfIsnHPMT0hBvFbWzRSCsvJul2Neg/X3/g4NmSLJe8ngIJwcUGH01Pv7DEbAafxeIuzAu34oSsYedn3gGbWlKpgnJ1Pu7ZuructYklmJp2gMhJTPqa/6IraG4P7HviqJr7kdjqV+HDY8ymU3kjYtV8k36o34T5wNfbwBFUy/lmMug4HR9/LRKmAHj6bkj6nZ6oYr8nzhHonUrcDZt9kKoKHk9NLZbaqifZpZxvJC2yJRUTDOvub4O73kKeQto3pV7o4Qjd+UE9hLnwzKDC6L3JB9wAcIzlxeZmtrgraprAAJ8G4xAL/Rnl1rDJLtLBSnurEnjqBlgol0jHSiAypz+HwkngUKd3ek4D6rBR9m1TlRR0xYA9VtSDF6Hf1wr5PsoxdKQEReqJt86fVeL5xmGI7iAGHQKPnkhxjGDJgQSbTY2W93qJZC+GyAILSro++dxzeMivAajFlxrCZIn/WrTVWev0eTLxWfuR6JjYhngQ8LYOtafHmQ6gjJ9l6CDHPSfb1/oCkhd6OoXwvSFtImAcRtt6EoMAdgwBVwxpxtqYuGT751V/Xv3rDHWnP5wRc3rYnDyfr5XOkdN7+pPI0cROKSFQKlGQIuroCxFVjiMoAVp/kv3Wj0iqR3LRSH53x9X1dBJb73OHM2tWg3R6DqMI/4/Sm0d9SrIb6P2DOKiGZNFC/mQ+j1j868O0Li9tp1YnU/5WJbpAUj5tSybfWlaVcpeoWoBA02zcz3L69Gn3MPGRswbFwMgpdFvAA/kPG4cFYdW6FTf6WEWKexGp/CQyWON+fCm9zWJ/Qi7bgMY+V1y6PNE5gOWURSTAZed8D1NgiwJ9sRCwWYLWPoZWCsZJgi3mtbul1+GaZ+Z+nhV5jxgCLx+f9jzW4dNk/5F/L25o9pGAKEqQDHhmr6jyIoQRIOoxL67zqeYcNwfA3/t3hKZxwTF9NoVGZC3WP7/lwYXN46GckWy4AvYJQ54ye91dB+O/inr/9U3PzyVKpqo7FBXcBiY/tzvVs11+0ME+GL4YS2sJB41mHRPSVGQULGQLQ8GVpzculvTzq7+pEEe3yMjwIwAf9UrpqKVZjM9Rjay4ZwdZBVD6ATeTTtGf+eEQa+7+ntZCKCuehOaMkj/iRD/b1TruxWOmyW08t79NsQ0Qn99tebxA3E4qQvzg5WkYnp/F4xCfzWDGH4LrLTeYvLCaLM+0Orce13BYgLUaoZ6m7AewLEF2qNi1bsd3LqcwamXd1qjXm6fHMJV5CoA15Bw8+34KBaBUXbWW3i8yk0lGuL2+Dj9fiXpq5lhgMes7Qz0DfgLGDYYaPrj8O0uZ5aJ46fE5uTZ1H/UlcmU68LTytYoMQrKfstf6r6ph9gESaEXfwosd7hymUZB/YUIgLO4hU/svScoeCXm8w2cQh+2tA6GvAsaTr+2R34WoBv+8heOzVwgSUH2Jjs5/9H4fL/YRyHhrc9VA5uys8BhrdgOsp2blXTToso/eT0opcW5JBSNDUv702wcBZLqeCjNKWu/nOGKFUIZohQ+6Ok3Cd3kgebcvGcKAr4Px0bXbuSnkxBme6k2vaohPvivMkpFF0egURCs+hmEFUlJpG++LR2lWW6ZGmZy0S8Y+37OMg/XNUJV6nVRJCyTSNz055t2qbdSD2TjI16da/ZeZOaSqElUW33pve8Pqqr7x0A5mN6tr/6VdfvH2R6TdPffrR8IMaIKllEaEYzQ92/3HtaU+3r7phG4pEDIU+PUXWJUlb5Q3Z/rQTPIL12JnR9dqpcUqwqgbVo1Q+sDZPeh3XTD7Q48IQB1rbIt/Y3Dnxynu9NV71wwPK9pkIsNYQaQlDxBlD3F64mD0TqNR4byvF1eGnNwWjylA2aokc/eAW1LoOQSD309/i32q0SKlm2RVZJTU0U2rkRgMspF5t693pH47FMI3PW+Od6peia3gsDAPYJDjGKr8m4oE5aH/yiVijb9GIOL+fa+/22vx7gVyhH1+8I7L2BjikaAsG3j4Z/q0s8HCz9ZJAjgMnoj2Gnu/M/QRqJSl+0z4nMoleRFrKMcAQgQ+mrrUvUxOT0vnCZ0Pn0nbV2ipZOFlz06TaNYYANT9Bvtbj1ucKp2G4UpYra+mvrm0T/6JQaItsQrih2x/Wt56YebV08ADTNfOchuOhFEJr1ZT6e/QWMfmJ0frGCAL3hY3bdP7PUxY8J/QYqz4G0nMhtkyLB8zS837ReVbpZth4CVZLgrIQSUJtMEmP20QYF7jDwkqjyQ22uQ6of01QB4GZxL15C2/T0thjaplLNiEk+UHhxnAnLRQb5Y5leGBlCvi2Mo+4yL8hQZsgHWuPxuQax23AhsSL5kYlaze0+YYPQcORytUhBqiddoc67ObmIcYG+Sgk3RXxIaSHitaVYDgx0caDRbkuiTzXMoMP7RnfMxaiXxW8bq+zNsujWBjS1410yxfoAHhYgsxrRNy40gkZoWlEoi5p+szhmkyVq1omolX4IC8eobLOJv269ghjfxBCL4rRttm0+KZN6Mg+HPV/nTCBMeZVdjeUhcIAsFyrYKKgwZFXZXOTR3Z5X1nl//dCcdtSXCGH7qlyVR4WSfOzP2Hq9PN5spCqz54ztyafDQxlRpoAW68ZG/Q5klZiC8Z1OKMCZ4Y8jNgxAkaKCY15snnS2fqR2XSQd3n7+7AiwI5k7vAjfegD1hTBZ26U5zQXyWcdNfptKjvPitrZM7k1j6LjB6JRZkOCyFFdB5GkrD2wd/Zb31TJlLiWVINvAyJLsSVig204cW7NWKJiiVb5WUU9UMg8L61zTrhhmLATn3XpGN04lKNm7hD80D0TcegfM5xnR7XTCaMb9mQFrhplVP2DNRDZ9A7bIgJaMIvZquQPbTCAeHqMBz3hUOEnMkIYpB7KQTJDnOYjC07iIaWOAWqB/cGzrrBMwHtmELBMy8QdMRwl9CtZCkQt1wb5Q4OCsSmGcpOH/g4eKb7Nim9eSw+KOqKdP410CSQVkNyKT8hnK2dkHxtIeQmtcMcqnN4TU1JmJtT23jsiqOwOvB0hznOYhJaft+qldcv8yjHRX59NlUoEmy/dB0EC+0W4vc6MZnAm/UH+2wMNYy9IeluadzX+cnDFKBE+UBdlbTj/LiqvnX/Z3j2h8BAlS1yaGToxZT0NYWZ1thLWjalo5Ywghn6uusrCMPy+u2atQ5S93O5uqpj9iwvFX/fMEMchJd8Zh4E/ciCXQp2SwonHZhnSXgQXvjvWjkqIYKtqehx/WrClNe/wL02eC0nr4CAmGswPAbstt9ZtfLhUG1HEZ/WzN7WerLbS5uv2i+KiBWXzWnjcYib3EQYvmeh1tYwu4LSjp8LkWnIl89RJ2VRMPpX11VjT326BK2AYNut7mUhK4a5NeUmhJYu53IuKgAjTUodVnz2qyPPD6Jpu528k7nG3dcKqzeKsHQelcCIAYwdQTQr2XcZujG8dIXGhIswNGxMKHBWE1FUjUX5o2PqFb4bKkc7HeBa3urD5ZDxmGLFOFAKrKdzhQmyNpE3i9/CR8TCl5KrupKUDYxx9dGHQLwip537Rykh0Xjn1hQ1BqFMG4qXTNdeVvhp99pHYGnksJEZgga6ykwI6mR1C/jJaPxxfcPgjOPdG8SpgS3cIFpUQshIuFjJTXHDZmy/oaVRf/wNp3IZOw72b181ZBaLPtAxpLMQZl6LEvgeH5YhvXIkNVYd/ufDGsADNcYTw7Rs6GwwVArGlmvdbxslaOVbywqpXcO0lfWG/ORdimYCCb0S7ouzFzsZlsIGPmv9CPJ5mn42HFy6E9vHF/HqlYCRky5Ngt34UMPIHbExjzJ4B6m+i1iqwhQ6j+yDW+yXJsneOeQRVPSsfTZgGWQnAVTb/ze/wb6CW66W5PRQSpoxUhZydua8wLSFIqD3xuqMumoLjwuepmcTAMDC6WqxQ0h8hq2PFBmT+pVRmTP4YbA9ohqkJZ2QL1EFg+F4R+CMRw5iHHYbXOWvnwv25bghUioZM40pbCXOn5du3XWQDuO0crvA10WRkf5z6cJfMGnJKB7i6cy9fZ691nxV0xPA2aZ9WSXu80Osv+MEzFeVjVpTo+9QDZ0blAuKSywuQXHoSdX79cFGjb+a48j1uIIryQ9FsA4peETDVtTDx60/BKi9HzhHgPClsW1JBZxmBdtYAQDSiVAs6jrbHUT7UYu0g/GyKFKeQc+iW7RZ5JL199wRSnaZanqNG5MZqPYO8LAUs9Ka63dO9GfgNGX3hJaCOv6x69R2wgPiW7DVPXhDH/kwFxodKOG+Di67IskSlsA1EsEclJzo2AjYxzE9LtOjpH+NfjWXHkm1bYzH9UKWf7EdXW5yUK/v77cezxZHuXW+PjLMYzUjBJDrZTZbtaHibJ8e8jmP/O9VNrA66c9N83aESUSHPKB0t/MKYQMqSYfkiNX9Cxq/e70VKLbTOESEg6Ukpr9gj47IYRRPITmjAY4gbSV9mxBDlwmv5HKxTFKiYyClwy/45efwdCK1/W+YfqRWlMthfjNqXWwe/JxHLsJJbPfH7OpOAqXvjLyjMeTM3xlq0qUCwdUvbOZOIG1dMFQuTGgFKMn97WFSvJQz6dKUUVNexA9WqrYaUsPSum1cxsFFPKrgXh2UhPpDeGy1KHsKA6ypmKes0c1/IudSEIw3OnchE6BisrnnXNdCZBZDyMRVtb0ucxdFpdj6asvvhBUGQupc2T28I4mL5Sn781BqgnDIkKPr7v7M73ytRjuP1D9RH+4R203Uh+jSFW/UoCAOMB3wDyKiXj9GbpBdw+RHwKY5+OvACEJDUphXk5j8phglBD1mytTW6GGY0UvtGsdavPk2KUXQB0IFvABANC5JhOa2N5BIsFpX+ioubWGFHph7wsKxyJp+gv3Cia8gFzwP9MWi6Grgk3ug4NgJPfDj9lKVl15+EPRUJ6SYJPfGu2xEGq7ueqV4DZlTGsrPVrMKiWlC+uMXx0XHGsjjqG1YjBZA8TwSj0uGR4Q1vAAIx0n/bgmlDSB6AHMNKwJ2yzUOM8u7sGrTQt5TrnEz82zUwP29OujJOBBaPNDMtC+6arBKRWJO4Q0C4kbKVrlWYZr/Isef14sZlBY1etAbJMq7PX0Aer8Z//v3rsDLc8TKAZVL6qmKpQp55vv4kjSMG4eUvyTePJWfzo+hyCVdumu8pQMTFxUUYENcp3xZdUkNKvkXfo67w7c+lXtpc3fpq+LpxmDPo8vtCVuD16FkqoljSWFPs3x4u8COfuxnmvxupDShj9CB5HhTm4FFjpruf8RXixPv7fFkKOKbF5HRisTnaxvK7wEt6lTJ8ArVhzx8ny660zMcDhDSGdP26xuqMrwCATwopcFG3i26BqNRPjgu52IZCjl4Qe12Meala6wZKv1T1LenXxRPeNhhWZ1zrhsEn2zdCzRd168IDQYeajiXgxDCF2pxw2EcSrITZTRW6e7aZutJJK15ciaiEZElYU4eoQy9lvVXQeOskPWOgo7ktXo8YpKqFpd/FCsIMfKA8viiWaxEdJdakybiRCXY3bb9e2Zes/3sXcif6iTpxaukBTmP1Z2Ftixr2S430hX8f3l+8qx5Di1ZP9xKt2gq4n5ai83hNXJxCxXxjd/Hu+696Y9Rlf6e2pqH7Ws9YqZDv/u/fBAUzJuPzlI5laHdE2q5OZcn9XMhL0OVyC+kp60XvUUqGmfZkb4QNA7XK/NayTniVvo1v7qW8N+YbenGirY9EeXtCnYTPoSTB6fdZt2eQqMegBOR1+yee+etjYn3bNEILQIARXMaF+nL7YAL0xI8Kt7P+rdU02ZYQxlVELGiv4glvUiiYXXlMr5wJS0VkJIsBOcrXYFqpuruZAOqqG/YAFuq8c0sLVGz/K+ApTs8/6HQHit3VNXQSXs8I93luiaTsR1K77hdM6jpeyQm7pJYVVXrYUDVQuX6Hn7/tzlDExZTZ/BPA8GHG0g+r1WroIPMvalUR5uO3aEB6P9udc6K4Qqk7Yf/pySZp6aU82pQaOmPkOsPM5I2tmksxHVqTanuaHJ9l8wvGaMEBrNewiNDIg1va7kHYFu5Mgb+Yl+PWivPylRQIrnidJ3Rx7KNtlNw/BjcwQT6MbGa2JvW8rnRdRJ1uttPCaOu0XWVBHw6m/QIs4n+yVO8tM6wAyUl0GtjWe1Cvd5A1YkhZD/lpC1AX6HdKIh98F2mV3KLOaauGirQUVjo7ohyVh/NHGe04dKOXXqvPmRs0qbNGLhAza7bfvO4wGhzFrlU1v4NPH044sSPw1R3Q1Is37bgx05qrqFvs76NDYnoh/h5NuMTiBwElKLKCpi9G1MHiWZ3bE7l7nRUqqBPcaTTjSOO85ePiGCITMS9J7OhnO09zGc7xmvXUbt+nURvNiGqkpF0wD81mLWfCmelJ3TC4LdMgumXaoVANDMEjN7pdhwuD0rL8lR/x9H/xif4SrqGCFMrp0JQh/GRaOc0jnC+wm57xl8LaerX1w9u9IkQqB6VMV4MkGaRFIVG1rRxQ7cUoVaZQbL5pLcPk5PIVipxfrH2LiVnFoVTylxhmDQrzuzVCmBpuJ51aFl40+yfESXHkc7BsV80M7HfqIZCu7PrXViE7xJmCI2I83dMB13AYVFMzPQ32iOhl05lcnNZYfyB7YIzySDzuNBGQf4tN1bsJpWO6xaHdlxb4HToHXb7g4v2dq8D3cCiqyknHu7dZmawZzZgsQFS0lH8mAhdQUsl7ZlFI+WEj52esVSN+hNCOi208OLMbNms76AJmAsXPHIuIraoUUeEKi0rJbZVGqYGOlIns0tCf46ohcwPZ7ldKNs8GM7AgrF3hID7c3+uUuuI4dhaFa8FFIcD5Ll7C6smwaRsLnAlGkyVBgSVuQu/r+7jjMT9Dw5L9AKE6OdDdXkfWF53jKUI8OsbarV96cV4eDg6czhsxJs8Ak4L3uiH9gxde9kEJonHq5q5SZ/JAFfzGd/iMtn4++i+5xPrA/SRC34v+r3xj1ivKYqhfGcA9T7RM6vNhUS2NECjJLvpaUfgVwURflMb5ywl4XAnciqiL/WA8rRj5bo7Eu+kvYQiq6qFrojFE7ZV6kvEc9bWP0GZogpg0bmWA7odgul2Mo06hwt47Pl8UiU6V4RI3/UWocko4068jF+jhdTO3YlKrjOJ6+BMKH+YXdDCj+vHv2BzY2LwT651EqvBx5GmDNw1QvtvsYCkNbdYe95pV1SosU/eEOVHCzr//E1rzMF6ddueMRcM2FEY+Kn9eZHcmETM1Ji+QFQslIrjK0duqhQLWKu8HinUII1k2OTYJ5umKvrJrX13gdi+ccZYZhiRr9/R+5Yr0q+L09AM+LI1TyPXUOqk9ufSzUUDgkgEPB3nL/jb/ZRsVlvqxVSJHw/KNxKpc2y3+lRZSeFuQiI7OFdgQevLcuyq3jXBi12vDCW23XnEQp8v74cgYKZQr2YP9C/HMYjxKC8COv6HwYEhRGMJO0bCIbh2LpFTPDPnQjQA5GfTaaLEXgQXF75m/ymS3uDSu6s5y+Q66/JaanoCc4VKDy81apOyfzPimddco5cfN8lIkcbed1p7M9OOqZ9MV1ERjF8Qbr6BfiMF0dq4QEeng5twxrg76VdauuFQvMZe0xlpaoaxI+soK+GKdGvdSzyOlraO+gRpm/F4wuVYJN4+/2dUj2rwVIZwTi0WIwjU5ZslKXhLK1c8j6Pv1jIB7ywfIJQS3dmbb0Go3eRGzhsxFUKWuLXLBvQhf1KYE5JDZ9Z30kg8iVLQk+1CO6sapNd8ESfy7CfpC1CO6ygPsHkc7vIsmirHUiPhROGj+PHY9Eov+DWtphBqEqfwnfMc6lVDa50SjIlgrLqvUhjgLQDLHMBGkVmHVvA/KCBSLMeC8Or9vh3nbCT3J198EvfLpLS/R555XcK0tz4oMUJW4lc/CQVpnjKDnahVQn+Fyg/CCubL+KKIBmqgMKVKJtAK3DlYV+9EoePDvNTSrnNAxG2SWcDmic4ZOooTykQzK22mgt97KFQf2eO+EQrPSaxe2aGlTdiyPbO3Xsi99EQ7mPkpd6CS0dShjccfvr0BtdTeYc1uZ218d2ibOO8gxoA4DrwTg2s9gFpCPU4LU83R/c1XO60hhgRfmw8boUFhRqNFYzgv2806Nx18xk/3ofR/UJNRsifkQd4rDHGXV57FXkJXbK+cQe1s6iJPxhmr7+1pfz3G0zrS3uwtIcAhXlOGJXWiHnn4ZxyygmPlMFhhDKTZtYOmMbWafnsYYp8HjhKLMOVjlXTosHg+hMmDxV7PXRRnls6EgI7oNrQxSqaaD/CZQJ+2FhTK43UGqvv4OrtzYgrtYlNm97rVsVjx8LJARYPTXIBA8f8XiTOiJkZC9afGPvPfTNWanPENWFDKUSTZKCS52trqiN7mhvIoO3NTRObamT/FAn2ekgrzOO0uP0S671gJkULpOVVgsK5EJwZjm75rc8QVMcKrR+tPpHNuM69t3imAEKCtlKv2E9sAifzICMJSNhWEHtq8LrzqvwdPzjgEeev9pyNLUU3V+oC4EKd7tLmq7tRO39CQL0KVg3gdXecRSnoQC/aGlEAQU9lG/MM4U3ccFWd4zxsRU0DEpjkClPZRzOfqrwc2ZbkxXTODuh+NKYxi/Qbfdm6FuMwWIglF/M3BDwhkac/ilV0ZVeVhJVKGYP1gn1VyPD+6XYja6LC8f4hQ+LZMU2nWaXv2nRiYrNnSj5su0P8F2HWPM4m9YmyporBi7G0zza6KLX1dr2X7tHjmM/TeMdxHgv4Qd8kB0CdTGdqUF0tiG4mqy1B/O8XAzRrv8Lq6D71IpghsrnX+BhP83svFNutbADS86yRQk7uSCkJFMLqK6SKqhZ54/njjRIE4WdzV/Txm5UDQVC4akFIZSgK1tRQFyTb3/ioIahmdDRxsCbG+ow4jpIunza5xvI7KrlAivffnitYRuMzWgPSVn5IMnn0gv4zWYfLlvQveCpnXd2UKqO0zWX6cu4m3UyBZz8b0Ek1nrSRcjiFg0GFTKwF+O7L82cCy9PrRJhlrkrnqRDyNU3P9uusoYJrozwheVkH9BhZHZo9EWmagteKJHuFTqqPrIoq5n/goXJamta4Dc+5DfpeDZK8C1X93zrGZk94jQED6KpxznXjaeyOUXZ6MafJUsiTivy3i0E2ZT7rdKfnuR1yQ8HUqWpqcvgEsrbsompfc25jQDKrtIoJ0NZrLcKIsVtQgO2jhVeyXVVc/7F0HyLXxW458hDdXRKMJjbca1SV5KZk9Wyzj7vD6DfKiPX9F6TWC4xIxObp3/T0gpmEHgMkbFv51HY+hY2hUa/mP4pd+sFkvAn5JIXL9X24wMpnSYX0BmcgfKBcV/IvZPXjuO32mUegHQPSIN2WDC4EcqKmqmnSojxrmY8giEYKczYHJJEgw9fqWXoCSz5DYDGnW8HwgQ8qCzRa2txvDS5Sslxqh53hv3sEPLm6Lfg7DXpyaddbF1i62AJskG1WpgFogac7lmyLeyDLNcwFwb84EDyTTAY7j+k1vJ/8RiwTv2JccC1GiaqR0mtrugRs7FZl1HPOTaEgGDo+zsLP3Pel/vWWBVbx+vX5/oEsdkJCWFaEC1tpIxXnJg0H3XoFfuaE7oZGZCRY0knJqH6SKeuhR4VzW8gcifmsteauMHiVEPwrMEl3LIadv4c+SVKmnd61raZvwUw3GijZiqXsVTOwrgg3Ae2c2PT2u/TZ3oQW40kK90jEW/C3X3cPnWs2rriLWfq4HyFhdFfB5IzvA/U+KXQtP/aTtBlZSVq9Ww5/4KitcUnQrz8Jh2muUHjAWR896O0cXQrdFFDXzLgP1s9HzTuMtoGcI657mIc9nI8zdVbB1cmS8uSSCsIRMtWD/NtKGuk8+buC0dODXWISAVp31WodaPMrsxbKH3AAe48Z2JNd36z7aP21oPzHa2UxjBVdDPOiBenueoa+PwddCVfqT/WdoXozlzd2sQksQF34VtRS8/E5nxYG3I18Ks1ylAWgoUz82oQbZLvkvqg9+GZHEWPJzyHv56Q8yTm+P65PlqDSy1AJWo7M5wwhOCIwhyMAvXTP1hSbuAtbX4QOZXTPwQbxKiYlOCFSZ8TPGxZ+q+B2sgwwmHJib8/aNmG/01/CGXCoyKo/ty92F2y27otapyXV2rRaCA/Dgj1Nn6cmyiCX0sjNdyEez1mDAxjzIEUsoNKpA+Pk1ZFuWr/Q2ayJQHEOkAOMrMAR1+s6RQaVEHNoZeC/r4StwjTmUMvbYJdokN91GmXSU1R6qXBY5DFoosvkJcjo1bhT006Y2UsVO4gVBywZ3m9Jh4BvdVZPqxep2TipngzPMQg+hfeFgXUT8cjk7oY5JMBYTWHAiJOrCv1Mf22mHcUzNs1KlYdfTkmaxmpJq0PWCMVuIikGygPCdNMHo3OJ5TURxcvBVYuYB5yF5Hk2obYrufnTet/QvURA/XB0G/S2Ltyr6lkksYPgkSMDkjXD/yHVrz6OXZyYqmDXREL47t29VIXck3ryXSQxhhBM+eexGmBs9+gyND3H5h8P0y9ksUFzer5GrcC+pgBJacNeYK+BW88Zpmb5RIb9e7MH7mKc9vD/4nMF4ZF4ZKCYBh4PSQJMhx5T0sDStpS//oq0vn9Rq82KRY1MEOGp0+wKL71R5TKfpsFqKAQWMPCpP/Y56jw+G4vKr7cOIJk7VBHhB5t8FHIs/3lptHM09VCgwj1YQsLkSEvN4dLZsXDxOlFaZn0zqcbrxu/Gh7zKsvAbjpRE+qH3UrfX78iOKPztLBYYkT+sEm4Hv1r969UxR3W8hsu6HdRndIe+MzQV/rUiioPDdhcavUTJLLJq0rlhfZY9DMhHBIz+xkDp0o0fOMoqaomlv35HOhVmAjWqM/A6UUxdneKvYbjEz6MxrLlKYbL4+C/UHPJJf291rST+hXgUu2O6cuJh2fo/bhokz8HmO/q+JrG+Mq3qiO+jM4cPGPD9w4wKg3bzwI9zBTn/PN4OJSfldkX+xKb08PIELPH3F3haYjhADjPnxHM7SV3RiVVVxP5+zKX8rVswODVkZHgYF5Cq5u2Q3OiNQNvdB9mdXOE8EsbUgq3cQtKRRPmxhD5aY4GK9doa7NGLsR6l5HJe5Or/H7aZxG6bZaTG+ZY3JztOHrMbuHtSYWb5aw/wiazDh3jIeP9yvkU3cHAWr7cjoBgz2aPUj7UZvmurxqzSG6oF5yVjV55RbbehwGlLI1jAdfvV/pcwBO9akqNjUpFSaHGruaw3A5vr1+bLc8+Xdd9YEZ7Jh8cgkPeXCFETFNASl7xFIP+l8AtN68aDCpOxghvuEz5P9FBKIJwnqRIOm/wPPMYCpzU6bqIjJ40JYUWz0k/nZBbztg5RlwfvzRBTBg+s6Q3OKY3thzPMmqg5ti/SeD+m4RHdGgzm1Es7cv/8/xFJ33yyOXgqxG2WjVTwAlJlNPhGCSeKwBTonfv7h+oJz8XBW1IUK46UMuFfrafU3o6jbGGJrklfFi74iSgl6hgm7GkdLq806KPyri6cITGiDfTAeD8s6FiZpylTuCetWD/9KAoe9AUIbaTruwPCsrsD/2l1Lq1xrivqZIo2HywsFr3G9AFidqA3Qz4MiKQ01ehG/OlSMu16ONTJsEwwD9b+R+3oUH33G763aAwzYIu7I8aTAbCmuTE/2/6zoLOSoWaQhiIo0VHebOREDOCpnTmFCSsKxFaksAfKgyEmoCIzpGdeQtqWGrlJUAS4sJV0J/lDAmHrhpsiuZEER/EzsM++Zt2Gg/i42W99fjPj6w76l8160h0lrqDZF2vDMiwL0Z8fvEdnj/MFeswJvaozHIxCGLNnpi1ZuQ2Oy1DPNmEW+OyAyvTlp3TVsLe3/QK9u3bKew4IZDMzvvdH3bY6x32gEiHKAC8g6vLhrq2ZZ3rAQD9FVThiDcmhDGlWKpo1ddxTt/du+FOkR8UtTaMT4jMaA4ospYMxQMFf8lTxv5UR7RnaBSS2ulOY9R5tHUDkiVJ+igWYFRnO0ccGOEEdgc+WVIVzjR7UL1AKrixPyBVCKzh12iqM6DqpioaLTUouqNCwkkEVrtNnAydM6NTQ3VcTLPqa9cA8P64TQ3BqgzUztGNpPtBZyHZ2M9Low3kXmilhHLJQBEKga/zmA10/l9WbKHCuLvYQDK4ub32r5I70PkodFX4JIgHDEx7ZC8ay7/tIm24WneF4e1u9qQV0RLNwaeu6lHTCCtjB/lhghVk1h/QxInoIL6VQ0gNOx+vPjvqtz85tPuptM9cDJzw59rb38U5WlTZBUH6hfkclop8IVH2wd+1sONn2sUOKYz2VoshbRskm8zrL3n3NaM1agkN4NVCpSupGJkD9pFx8Zubw0CMgKlrAe6z73MIUUeaESuWAjKKYtYqiWxHqNeSrsV8XrYDppGorOa2jVkp1OXGl0YY5JFi2HxKKWoKFqJ9xmLDt7ULYJB2JA7m42HnVRyN/y+vGAH53oSCVs896e9p+v33SvJQQl32Sz8kTltKU6CHQQdrEmzz+k/b15BNAqyKH0ql00Nvdroa4WLXQRhLj0wNTdOuIXgEumRQG8M/kI9eO25u8aiyPFPnC+9oYWAChBJOkZ8P5LLNboxiEmtUs1MZfrmmit0bBoxKTVxxBV3SgwTc8A75LCzP901ohUlAfRWcvvSwYF7Jq+ntrEYlka7cZM/kyVCBW9YB+gQ0Ef+3SWmHzxzxndt1d6Jo/6xuRnXvbIw2dWgr4TR3VmWyHU+8FIcJrrM2qenCFcFHfvbygujqx+4NtqtRHcDj6WZa1Remje3rdytueX1wCg/ncT9JhT9qOdDoeqGL7Nv2s9l15U4L8uMVHgFihGcCMNM9ssUQaJkbnoxLvBmms2/A+R2Bg9AVaNqOvJhJwKv6aZtFJXFOcj0IvV7idkIk+Fo1cyz+9IC7xmN9wQScXnJwiaJTN5Kx44MbANVyta+Jt2AENc+1AVaQ9NwAA3ZvEMJkNQWvZyzEPoB9mBa1ll87RzG2S3lqP3fqoAbg4ublL2r1N+GzYS80oRQPi96ONbzjq729q/4HFzMot1wuu9BMVn5uzwVlT2x9cAI6plw+c1+1eLekCu/sFzASmOiqVWXzv74ReVAKaNm5u0gplEoBx/15sVKq06sy1rU1oUJHu1DEnMGmgufdcw/h9F25TuEojtTrZYTwKScW+/gcOGTuIDS9F/mHMX2WWhC9H3JjXyyXepr0k5UcAkmQ7tba7Bo5JOMTVOL3EbewPuV/DnHY/bqi5hZLvdxfhB/koEPLBnCjJB9rwGk/dlYj+X1fZpG6NFyx8UsunffiUbsvdMUSwl5NB/xdun5RpKqJ3NjiWAvTML6c9uSVW1x0r98cvYEyo/bWnYBN8R00QD7B2k0JDfoJ8Y8DGD6i5x/0KxxJ9FYETk8t373Caq8ineXm/MUJJlLR18lG+B4+22sYW8Z6mWIaqtaL5o059wrigKcxZAbXsMXSvSI/qHcnr1AYBKLVYryVik5Rf1IS5g9JxJWS7+DWwpfza5tp47+5w8cr+OLT6Hzd7jHSDUk6W1iPVm2WCTlKfJ0o6+fG1vt2p0cFF7ZorZF6o5oFNj+fViHvMMA4bNVvXe3NJKQCoGQS90NcAaWKjhl9higbEIdSqx05dFRiSAWzAZE6Mli0fZ4xdRYEmeRW4BhGFxLEh/MZtD2VKqavCuV9BYmjXc8qUMGxbkUPz/EbYjipHfduaYPQEAW5pv1FKDFJGyHU02FjkCYpteoD+/E9vbv3TduJWvyrH+iAWLv966Hf+LMjQNDGJplR7BdLmEeaxFmLU8Z2fQ2vgRF+AnKDynvgR8EcMRdpf5WDY2tfUJn8Ru0DesuKgZXGlmmRnXEOB7J/zxt5MxNA2HlV4DQckg7Jg93Gglb051ZysoUZEfQv7pw/8Ff3SLnNeVHNqn6sbzOr6ZNGjdVQxu1HAs30TMj7l0gHcnvblr6JGRarBVQjiqLLtlSYcgICucNxXgF6gVBdGuQgN7Bcymq9RW/UgsmDbwh0mImTg1/lH4O79EUyjI1wxYJTgM8ltS1bYpLgDBU7D6n98QF8symiJL4cPtS3s18KfGoMt9mZW6w5k+Kr0lUjXC1yPbqTrKG1JQjxykikq6BCjW0Uyk5oN2/z+VghRRlrCTGEuziClYVXbsAac6LE1WTO4T1k3sJJywAo94oabDjtQR8HcV0gei/ODqtJij0kLx4SRYAP/lXZtWd9SGRFPA2qDUoMZ1JKS4p1BbUtS2WyWpgXHe3XKwpNlrVzeQmlt5oczVmnZXn0c9v4KcCsQ7NREI2+3pKpIxs+Qx6iK2kbkqxhOSYagm1ipHigwIVru52ZQNsiQx/IZdKRbSPo3HjIvG6mfkhigMlaqPecJOVE/JvMcTs3SgXes0/Bm5vr0Gu+10rpo5uujUYHcunQzFHugyi3awOLTRSSJOEUVQ21hbnxFtXOI0U0GK5qkJEbgoa9uBejZwrTVYEvlW7Ety/NMMmXYCbhbTVXJ1xo/YVk+6HpVesqSpKupMgCffzsAPyaGxMFn1NJP/wAtY1hWA08tTWMVxgdSjQYRUP1/8UiHm3gpcMTaIzKtgKTN6L+qSGLk+j4JS9A7bE5fNmwZO4BaUgYVF2jiOhqFSgWr2E4MxeSMcKNb3aqHZ7DyIDBuFp6LpuU6rzvlsjm90mD0dOiTfpCdbXjQWPws2TRXWnD00xHoxDtiaqr3fGRDQWbZjZikJifAkiJL5mohUfGHTdDCvF9pFSgllnxm/P7RRbDjJC8nYkW1k5VupHUZQWRsDVnay6Z0sH3H/5fgRfRpwwinCQgIFbEemN6+xYiEMPX/DR4MhQUuol10+QyAV9x2AzJWXoa9xFV1/lXkjydMG5cQRqJ+KxFvioqQ9SS1ebcKBnlm8shtCOpnjyMImmXhquywYBcVFqGNdpLfnFFf87hsAe3++/ij0MdUoNDoXDWQwKYy2coOJz+PNlSYxFYrMnXnJW2UJ5XBDPEorWjq79+XtmrMm/ebYGCvZGlLiH0wDJ4EBtH3cowJf5ZcBRkba547YSZCyTaoxjMHiznrWRP4Kga4/Q0OY2g2+1dO9o5YNn4qOv3F/0Xb3kmwt0ps4eJw+vaxYVUrmfyXg5N5HEsCWs7CYKMAPXVhXb0kDmvpXypVoBnbheCzh1IKX9kstAFGdxjQyHHIpAf4SHP2FlqGXjjQZ7z0b37VDWIly3+dGzNPvczFrDdvOzEVPo2/lm5QtXRA3VOjbpsnoUu54iAsaBqThnAST5My/D579/GPkfZUA/q8w4WdahdL1ZiDF8en4MOWa/dfpf0PM+uo2ScRBdZ3GBY44gVy+fyfi3YgsNMasKmQmgzu/U7M1bVNaCuaZo8xvmY98OR5pcXXZTMDP7P9TUDBSwv+lYFHyZw4AMfscA3P2DGGoICmgwJIQcRVM8GUb34iT3jZ5FANhc+a55WYwvjP5tjh0Y7tWAPf+3ba+32YbZsURGfOPhnjL6T49FhCT7Ut0U6L9cU1sswnv2y0uROOVia1cjRIGFSD814NQEcQF42hAhJICW3L+OrVbHM8+GZeEDE7108Ba1CkAAtWaocdZ03slfzA2DeERydzqlTY7t6Pld4T8ExnaR5H8reWuyVvKW50h3r3w0Z4htU/5uw3HH3lX48iKUSL7tL+6AVXnjHgDYNp2xxaQQAea/p2FQ50AW2xLhJ71bER1X6fqPiHhjYgRLdDQ70i38Z1B40od/VI1wU89zRxP/jMNb0skebaLECJeg3fhYyBUoj6DAwxfUK6VmRGkS7jhJ97tn3SUem/ffWJN9DOxLj7V9rgRZA1ofEcxMxlU7eoB2IiSpa/o1gDXWxluHhh5xs8GxJIwdyGLhL6iEaz3PqZGj0R/TInfpLiNQmVSEE1/3+QPFOKuS3HjxYRq/zgOru7qNtI0xS08LOrsyf8lIoT2PcRxCr3Vxh0uJlxhRzuu8SLfZsZDySncunFXWY3hvbOyEYw9IEkb9EUwbtXuHEr+9OOiuYqt8DFqC/NQqNbImgzwYRx4RDm7K75KCOA/AfYQQfeNpBZDvYXmgW6bmzs5QzAqicWlDkoHM84M0OK2zqRdyiKHHspvcw1CgwtZT7k3AbyY8b10hWdux3io+xZ8ycyVWBpvUC1KCDwMvR5NDffJj2hrJtyy6QcM+NbOz3iJROmR3PvYD45pxWdVXdjnbXGtFk9i5N3hu7NdK0Lq5qV77MOvzj8XUeqOoCSy8jb636xKqNXfgE4HPvpOtCnIJVQ5RWISVFm6/pwebn6ji7McS02wXtD/WgoKmnzZE+nN9do4wAn1/nKODwIcXbZlIQrKquMHs4TQpWTuP2l3Jw3we3CH8ahgU/aDH4KJ6IS/4kuVDXfADeu507RmcOSyhisK0fO4x+zyf0JUs+MBYdTprTjqTPV1M11HH4xdkCnK2+ttI1cKSSSU1qvWGLRJQkMQzSA0CPCm9w6/jRvZUsSBOfslicB2dAdWNa6slwSILGapfljZ77t73xkwX+sQl6R1jf26lxc3XLT/MDwlOvKYKU81h3vrpoAmyABh8s7IOHv5cves3AqU1HM1X9O1HsHhZt5vMmI/056dy0epp5/W2fQbp5GBk9tX0fkzoZOKtRmLU/McoyIx/FkeXE4fVYDS004WkkvubK3Zs0pbV8zVvPAb2RgFPJWf6zrInoGmyrKcguYHV4nFX4K5uTO5fTVuHapX3goIL+8mp737immYOw/MuzBzW+8oGm+RuO/i8eHIZyq6wSVDh7CLLSz8xrIzhli+sOEv6cO/ZP9rhkmseZT7InHYYEmYHePG4AbQH7lW3S5yqrbv9Sat9kVnBGULhKQ79AEUuHinnbR+mxcD0MNUPXx/qVYENtoTlYqId3ErUmX/f5iIbhLcrX7as7ImezW3f4kijeNb1YZLVY32ezQsDCIQjyC9a5uNnR3pX65+A90lWhYgOgFdzItZOm6f9VVChGOK7ztHZAJ+0ROWFe57fCtblBQg3biMf1CKN1RzSH3jwmGb5owgfT2HMkGWraLo7ZF3MtSXSwGcYHDoEVATvFmjuGfrcOdtIUaUl0OrF9QD0d5LLpmGriOWjavYq4EHFBjqJvItLGOA8LBv6REwbm6OfIzNXc8JHhz7jzLFQ8fyLvMqxsuX43utHHYrs+fbBYa/n9qVeT+oC/v4bQhWNuGDLUwF09jjHroUMukpA63PyX4opnZgnypX73rCtba4F4BHcVtnU9yxHZdiTQW+N7cX9r1O0qN9+wbG5yDkl8RtM6KiD/jD6vqu+yBbVn7gR7m9hPgy26rwY76vnQ7Kk7MMfs9UmUSpNE8mg+flgNDqqlcuICyqxnsk5U0MhwFL7yoiqH0m6UzZJsh02HugY4oC1xhDuoR4HUgVPAObI0NrHIDLmFFyO97+i24Ee+OgH1qBKPJMfPity2Bsx6n4FChAH/pJd7ig/6fEmmldEmkk8tMTYByJEIrOjjnnLDeuR1UyjWSHTz3tVGPlkD3zCtwjvV9oRhpa9wi7/KXLQODqIgCz4SY4LTKcrEU34hpr8M0tZDAB/strf4YEBhNFb2So0Kf89fTYN48dBmzKevgWu1bVplXyi5KuxGr1U8+AG4xYKqN2G21WplUC7ZqPb4/LACfAjeQ75LhYv0tkZ4GxpLgE56busnV0+Irhn2FDyUHdyHZ+VKTcjzs2uiS1bW7O5U/R0j39Y2Fx1Oz6mW/fjphB6Sk99Vgwng7QQ5hsNUjkFue0wEoH/Xxz+hKVBs16/MnmefsCD5gE038EPGOniEcAErvc+zUKupBrMsefUWLlhJ8Zi9pCNHDCxf7d8dTAo4X7wmnu+8jL5/AZMCDe+kB9DLy0XY7L7/KCa643v5YunZBFmCJ1PsdEZTAMfHg8LrFL70rVmyCi7icp4/9P8sE3hXODeuQqmTkM+0ehx77zxxgdpkFt1cw2pcSRpT+V2dk5oR4HqeBs5qhNfzA43BKxMuNvFT8GwXTIyodl41yUxJgcdw+FSeGmv3KQ/Fb18cKWh+Q6+zElzjU2febr6cP1on+ntVRsGqvRQLFuE0b5A6G5YLAvQYss9Nv0lIScZhY/k4KZv/ryxI7yrsheOfsuevH0+rAhlPm23RCmFSWUL8MG8ABFUNaL1EE6zBjQv/4GLKYLBvJGRJq+VvIWnbuBaK+/pGDLlobWWCLMVCeyW3Bc3sD9rHcBaIsqSzq1FaWOopJcBiethimXBrsZx9hfi7iZqnL/5hbxD0b1UUj3sf5bIsSfLXhkDSSuGQdtFMNhDneImQ7dm1dZJmYaYDbk4OHt3wYezBqV1gp1SzHA8s8xVHAazwiBbMFKJ5IE0XbLZ3GB0cIIZjeQmJ33dNwPJFvnxpKSQKDqCqZaICCN60gtUaJcYIdROhQkYokOiJPPqyreL3N8i9hzu/3puD9DBA5S0czUSIZvLJNYZcRXDMB3rvI8Qxw4koE/aly75JmWYckuvtF9GF3h8DNGo+8NqZaxXu5DWE6oYx1wcokUNr9ou7+dVnjRdQWnh13287Cr1dR6lDdDpMCJZVpU4koLNeeEqTpqR3RrdSYM5xRd+ekRBfuCJGf37L8VSq8MMn7IbHyrtEUcziWUkKeG1SkLtoTk8TBjgnmuktpI/8gJZgh0Xy3bY1bXjOFhhwT5az0L5STUsVjR1zIn5ZUqz9IF6dkz8J3/zMY89/xwgBxATdn+0I/gkVcCEeCf1U1bZzoFO4966fFinTnfdjAuLCQTdH98kxU2iXcA30mXcqwe43FM29j/j14ADgfzd3+Q42ZVakbFJwFj2jujHud/8OTbn8UC/y7gxdeqlZWcYC/E+eKprxZ94ZU9PrQi8oAGbColh00Hzv9hTBLsx1bgSWODPIrgxdb8PHwJKhOPKbGQsJCuPlMTjs4V3wvNsRoePEdHFuVNd4phrOSQgfpGEXodNBOuswNMdZEiu2IuNxLgbBhCFOhT9InqJsBxqkHPptwuOlN7URXJsw4ePyPlubdNzz2ct9DiZ304QlmGUr60Jui30EAV+rLepAl2IJsekyTBXB1VAHuCJauHutCKQ0bPq1mEO4AggxBx0gCDcLORAqSCDs9qmzdUglnc/+nMihnbpjV2/zFkKslY49mZ6jvm3f8VaSBvaMjth4xqvEPWdbcyWx4YJYk0I8IY6Vt1cMyCrr8UFjGYRwCpxgDBHbRXyMH2bSsMWZQrLYDQj1cbP5GzdI0jXsPujJTGSApE0raKuGCBalfL8pEI8NG5KRCijiUFQjlIkv5tkTdkknPNdHmcS6LI7xhUSM+W5jcItjV1qBAQH00ut1IJt6C8OWgF/RlPzkiv2W0GDpyz9H0yEbW2uV669RBj0TLxZgRiQuQufmBRlpOgZz6GICpCwNu7k8sLQ98VgCYZ1+0IKS9w7l5pipPrzS4HWUzmRDHGwscggPJdnsUcGqnIgrYTkUAR8plcGxIi4HGm3ktgDt1/cPRxpp77XcNfF4ghWHyLwFOdwAQ1ct+Qy65pmESi5H8ipmWXnL/5FGzHxo0hzhztbVI8A4zb2zmUyMDfV1vkJi5IDMMru39f67iCh+ww4T/Rg1jE4A5ELPdfRiDzO7zm7N+OfvC5GzHCrBlkSVlRKShJGR+K5WKFghAsgueJrlfB6Rw3c+Ttb0Jp54DQuYeY4hysBC6zTy1X4c8PlVBvh2VP+20Qh3riTFqQQGBXiaMCRN6UgVfOtDHI63CcPFgfVt1l/H2m9bfPBGN+xQQgmHB2Y6lHYj1IB1sXe26/HzIZe7u36xM414f7AdPwcFP3FpXr8N+qfrGtA73bJnznYsixfVB1lP3TIIMEvrRvZu1iqfAtbR10/opQEmnIUsR4KBtHsq6oKRpiWfa32ReoXyjs/4P2JEqDEGFp6ZRMkTnjiXY3ZkvMWdemiAXilfATZFFu+2qS+heBY/V2/DPExEZ1b9VybUA4Rumhnay5lYyjeEdTa2vz2hVcWIFyCwABxakkBQWjh8N6C+J28POinXhuyC2dPTvfHQorZLN7qQvpJnjsVjz5zjqJOHV9jmPMc13MQ2dmjgtH/Dl6KadW+3Ed2EuXLZjpKN071icbLjCDOG33pXNfdO9OL3DGV0y1EqhcxHSUXJ5zGsuJ30YTUEaE3FbtDTVWwrcUbdsmubaqUqS7pnaxOLw6snvyh8w5PwSmm713jkUsWzcWjoWcPpIo0h97K7U2E13Ak+qXdrSzEUMeFRqgnES8Oyp6mUvaA2i5bu1ChKE1TnGU+KahxMppI0LNy33NPaBe4uJf9WCBhdDQGmcwWRaMaKkmGL6HHNswUyUx+/GQmYHyFPQKcYNEHbljGx1GGHbLyLtPl+Ozpm8G2o0RyEoGv/JiKKWGOBf/yjf6PaVZaoQjsgtxk62V9gVByTwewB+zsNHRpSf9DwX1Lu/hDKW6dmkrE/CS7t1KMiUm0ja1xAXJlPVHiI5snf8ZsCCIaxUpC/0+z4KawcDOGCS+re/N3E87QoOxlOXp+gOTUaImWVvZgdaDA/W5FxUrFRmoNU8cE6a8XQvIwlok8J8j1p73Gl505crOwoMVw3UmAJyCX0vyefbpRvSoWH8p41vdU0ximA0cxrVrwr5wTKxc5BgJhG/pgDllmnzCOG6L7H+xIV4ubJ+es1JN0Bm/gkGp6FXX+NKHPguoci/XWTpG4cvLV55+0a8NEr4ZEqdn338N/QUaYtWZi6F6hUghXrhg8Qn+LsOOsop5d7vQRbPVTqbUll+LoyJjcvt0zz8KUwhCKpxfW7ZGKDXhF2nAJf158S4B0Co3ws1iSsDODi4+CqA4K7WvshNR6e5mh/9XeaNNXbZ96LV97Rj/cgWiX5t07jhPYjnoYYpQypD9/bB7pjS9adY4EQTfeXPm3epJOF+XdPHRttliZJTpfrpq0iF9P4m426f1DE9hf4CCfLiPcMoLruRu4yVAnQD8dG25kAflJuzQ6LTI4uEDLbzJjeDglRitH+H7GkQwfYgpIVY+wT6tfOWteNnt37tuHqikjbBOJZwPLYfrq2ACaI3+A4kMd48hYYbL2VD8QLvCwT+IFxj83gJvuVB60Nk5JgDVI2kh2v4OQEHz8uWQR3pa8bqB6j52to9/rwZAh5Kipes95E2hb3HqE5n44xKlQZXdNs2wk5RLTOZj1jiEVwwQLSMKUkI9vjmltVb2SYg3dgxEcyvuehYzvE8qRox9ll5H7XWqs8Nl5M8yxfNgQcIJPpvMUDKjcRbFVEnzLElH0wT1k/F3IBMSQtRoBC36l2iqABHxUh5QCxwqoWYe5zfo9Ku4czvDL/VgaC7bJLInOFgbtEv5XIDZaKJE5J9ITSWuIUQLRgTHrRAVtCWpLPgMRotZ4pTbLGpC7TYGXp8OdEMdrEpUnlxnDKVWtG1EctiGrjpepRDKjKbY2y281WeH4TGm2XXb1ZJl5ZYPke3fDmcGIgRQi07b/xUblVE+MBIRSojAfEGcmczXU14EYhHRfSkjHmvuRtw+QvjmYLEe4AGlZdsMI5pG3rc/0baY2Zy8iX5gUwqXn0RB1kGTk9smjXwOAAFK5N9UqyYhon2t/Web9eKcZQz3/MIS4XH3b1iaaL0RHFTlffrmJfnZengaNTZbxeJeCVyewbRWZ3QiaGZm2WRiwYcRTGmWZAfrFKbaBvZYowGNZtqGWgAg3+mOf16E9qD1F6LuUg+ichsPgZRiu20uyF/0KPYY0/elwxLVtwqyp2F/i36npflpOULgPxXc1ayoATkP0j0lg7evNnKG2xDUsD4lAGwTEt20/vzE643JXHb0xOGgdmx5B4qu/n9ABu/khCfKyl06e3nMoHD2J3CKDW4zyvFdPwRgAyFAvcgHDQxS13bnjw6+cPeH+mqgNDKwcy/Y+UJXlKZgKP0he5z2guwMy/emZxz+8qZNOwTA+1ZmmaoaAbfB6vxuHgZpRELZp6IYHWWSrGnlu4TgW3ECyzWsShmJaYQEZ6ZgSAI8tEwTDxiAdk99BM4TWM7v8YUwkiEnriH6p7E/OMEtUf+kBN0qmKZBEk02vOegY6P3MnH70Aq/j8BKXLhLI0CIq3MLlTm7CLOH5cHgPJrAnZP4ZWkjonxL+V/256A16c7KyDoQezj8+KIBU4b5yBfY3ZCDu9TemhoveJIM0S/4Xk9UlvN0Ja1qNvt8iXhpFXH6+VdgO8ICxDiLzL+VawPP2JY7y+x18jIYCqUIbj68ROQzyYfKkoBziIV1qjea7i7olohGgT/ZPnYcUsaYgYvqR7nFU6ufU2GTaQSWX7H/C1HDHUJrzSbsHwcYAnpLuqMO1tUYwwXZph2zwWLJoQb9RvsYCxCyU4B0B+8j3jwmIu7WLE43TJQuBcTRfqf8Mx0rCBcjiGFhCWl/ehbuuXbIMD0MSJCiKFtBRWp7oCiT/201ozIp5IkTU1xf2ZwLtiSqvpx3JsBRWZ9cdEZl4qfOYh/olyvP0CmMXU4dgUi2MxgqVynq7ZekJQOe9fBgMy3+x9xYXquL3AVIINbqkGvxA9pVMN5AINDlUuwHoFmMptaHAQVAq8lvqDSyiA6t8w4jOdEXQ0ZCqEKQ6bZ9NTv7/uaw+C9NjGcO0/zzZP17kIIyeTup4RDnva4dgB6bHTHV0ZFCgro/NMiIumBOucTs4uNtN65XIwenjP/qhPbtpxEU1f7URO0xXbAbf+2Lu9RS0Qs3XkBYY3a9rxjaWVFM1Atbie/i8OZzv64RBhtWxL3ySzH08/uyY+i78CDOY0Y1ySDOLwk1FUsZ7NxrfBL8YjmOtcVBaK5rDsXCsEQ928AiIKzcX1fzt5xFV+ZASzU5VyG2mU9cDZYeg5ezwiuuIMp5iWcOcbVYygJlLgTMQXQar10MsVpKkN/W2DNukBHZRsmO0mQWvPLsUQ3mZc2/3Tkzyh6zr9YbYRX6NYlE42scWSNHwunCTZ1pHYcMIqPyL1SsYwlyioMQpXbamyydNe+lSxiuCbP7vQ22OsyFbcWsl2awIZk0cKmEp63bDNIS+x3eM4LBtxmfFsavM1FjRvQe1c4agSWobZTHGW8Aw+oEm8DNiN4MlUP9hn2AW037Q4kaHYciQVhBFwiyryrClde94qLblxVv/ZKVRRw0QpT01m/XVWVtCz8j5XyO5BllIuWsbh1JbGOyN0A5nWvlWFebU9WrDapz8qDHtBJFBjpuxWHGjTCqJQteN39880FZcRuxmpKZV1N+e4iKRGY+VXn6H3TWUJIxKUZLhFbWZAjklhISdspEEm7D1cACr5A8kVioyxZ25cG+sNuqMAIAtFaTQ8wv3Wm4IoBSitfdWteO4g4sHOpuYEnAatOvpYnx8sqTvlSZG3LlqLWS1sZ0px2YyNpMrjQ9PrIumkFZeAS16/f7+khu0lExPlPfOqE7r24haHjSVSMpL+K/8udJOQdxSQXCJqhumaCHwi2obbq/WSSAXvzP69gH7Yo06lF6Y+Z6qhnF0rU31hzX8d2eL4kS4p0lwDM1Rlk2ouWuAv4Lpy/faNsUGOoEyBzzwViWikIDZZXMXGv2ryrO0auv/oEhGie47AZ1IdA4v15KXm8MaGerCHVaj53k0CTnJDsXZ9DvizCnLVPttF6VVV0DhaZAZuYwm28ZAe44kqECw3zq8hlgQ0Fz0HczmPINQ0tX9QAFZ4rPRBWzn/FCA9LUTX4T77JrtUBC6LNufrKTtC3QOnT9/jo123bufAMg2RjdZXwQX2LB+lQ/FHI0MWQfIxZ2ZHpj62N/NQgw1axWIOYQ1hKVuMgwdR0Uj+iTMbSW63gwXDEkK27FGtWzyuNB9oZvvyDuTLaIJ0B8NwCOUuOFDdONqxA//iu+z1BSt1Z558GZJWhQHW771QwTWRYNruCcX5XC38kLSWl9P26HWlvElU9/Jq/dgMmq+KAkmn37lrmFteSrnPN4AKjJ40Bu0MkVp0OhDuBb4r1Jri34Nj99l2ZdvPBOOQLgzvg3SNbJDQknuI5qTBwcR87yonr7Wns56hUw4Z2cAX89wlhlWNXQZ3k2wtxFxtKOQtcFCJuLnleNVmWJL6h3UU6k9umKwI65J+w7NeqSnxXabBO+OuMlADGZOoL8NhXq1kVeoijnBB8pXPuKec/aHtdYVlMYlP0P3JV2iuKmuB+L3I33xSijW7h0qoyM3PWwH2Sg+4HCSS+8bzPbNLuSQIl8JYaFK0Y3Wrj9al+clqYCrd+x5ex8dH8WknLQsEzAhj9Cj52og8OzSv6FgTf4sbNVbdzWrJS+DwqCSSwXfqBEZCkmJIOi7rMgtCKPhqTF6BPP9v/POWV5iOvzhiMSwdzEGRhRXH5p3mK/e5+wxYJdmNAFG2nlmXSn4/79BS6Febkkqj/HnVu/1ISyQzJdCYcktGQ9Qoj26U1rhQKnaIEurtXbuAJ3tIAUAON4A7wrsRuvfosdCt6vkshAmWzc9PdNK8EbkkKeNMbPpPFizBmAFFgu0TSnIYCw3bmX2hayDADcl7Tiz2l5yX482nN3lfXUtLQ4N8nXA6CFmD8wk7PEQUJvpHdIDOCWc47VpT4WfBajjH4mYVN/3djIGzrxLohCTXq2N2hgVe1C1xpvdm2iw+EDx1+4T5k6daihp8rYj9AWJvplpNPHLAq3ZBAyWsKIeEEFB16Aysg/S/L6lG9CZKwLTWUpQ9fsWj33V/5qHTrBKMRZYq2hgUxeR8SV9pu7FAr7o8ti2TEQRlKuGEajLq3uj+T2PbF1dn3sHLlthsygqgKMYlcfJ7bbnA3SKV875imF/teGaJoOiMYpSvlfYFp2aa+bDeQWAcW/lZS/zgtTKcP64LXyBqCzFYhQUvxqAxAyjZk9KR569kTSiSDIj6TMOK8roVnIoFXGfQkYunevglhaifnvBC08BX+byI8HbdllVAYpnWyCajCO5u/5owQRtOtgcHyb6zivvisU2xLRIli2G/5moYvcyh1mRcUoFcl1T9EpT3O+q9lzAGWmQgCWZwuk2tjRVbi2tZUf4RjmurCNvNCtnyvbwROc4CIODClCfN4gZTfg/hXej1OIfI5hHww2Bz0MrmZkjt8RY6zJGFtsmPOWfL9aQ5ws1ZZa6Sy7buLAlPiIqCfHASfuzygvmH3N3TjKzOb7+ZjbU+l46LtT0GfA3J3UtmgywfYZeUs5MpZNtcSjKrVIZvVNN82bT5y24CAvveSYEydmf80+Rhb4PLW4rohk0M5VpyqS3LK8V2owkUgcZPKNO+hBboh+TUm5n9EQ4pInj8DPRwpHHGCQqjiIM/IX3lkNukAlLvad87KRtyno8It9Vp8srLiNJ7IBI9iemkHH7oJ22lJRmlZNt9cK9IFtO3YZxWraoHYimf6nt6GPVrtRDmCFgqOnftML9R3fS1bnFIw/BpDN51Wp/aeih3/2SeKZLaRkiN39Cp2Y163OFMdoBHD3q3ft/hY7RgDiJKEhQOp3Atw9C7q/mSqssMBeavGTMtN78M1UIRuL6kPGxYJIKtRrr22pZA6qGP+/Vmrp6FMJ4IWLabGh8qDwp0kjavFydkqgZNKibOgD/gb1MkHYLqdkH7X2B2Kk+xq6ZaBBKkY8ew8FSKVRNMkb1BS8eACLsr1TMyNhllA8Zd41/6jj2e/YNG293ZJ1Hd+0Bh1hbGFheQvAftW7lai9NBTUNVKQZfO1UCJ1A2zkeX29zsNiocg40mf9OjPx81IgR3pH0duIrnkmxusBmA4C3z2lUOMgYQYCakRxO/VH5uwGIKY0K/8BuBMJ41wv3m+1Elpe0mKUWCgcaCsxynCkckpmi3byBsp3Vh7l52r1aJe+bMpr8EbjSJSRuV9uWbY8YcALf8qHHG48Le0Em835V6nxQZxUASkC5BPAKawhgrMhl0qy0idtOmbmqJC/xjsFW5iKjnTuc//p0F5zbm0Y8NVfflSsOcdfebhwMoaScb6AUQ79Zm4+lK3F0h3Za8fYvQQF2WLO6kNdD0WFVRT1Ng9IYZsWrnE0TPJ6xos2bLpKJ6UW9q8mreP8RQdyEvhjzt5hoKzPabpDWiMHzGYQRgHOZjGxs0KIYKcFBFdy1XzRlfnfZoTcfELDyEZdZxoBMYcAeSJf1wMpXslrWrjw36EkwWKFtCQAzq5SlW4O9WPZsSejDCnenZbYKxOu5tNWsHvcK6TioaX+nO89wWNurpiflZnj4PoqfhvisA1xHtZKtMDIn5PAXnQjgU238TmxmgU+yGOAFHbV8QK+pVYvJd9S4B/SNIkmrka0x5qax8EJui5Dx9dpKqc2ur4hfr1K0RbV3E7IE37jhKO3ervfL25Issid9sRG5cmwh7yuVBxDiAMgppxEZBL/Vv9Gz89yrxF+8lRKyg2rl4TFhAz8GGDF10YZ2BvbVf/QdGZJZ+sMuD7C6SHqVcGkNJLqfJA+4agy/Fu+NHKTlb+I6MjhSV/rVgiQDPxJjJtlXrcsYvPBAPtA/AKfgU0YlHrRt0tWaD+tb6g1xrVTJ9VWOxHd2dJGo5PXM70SL56Qiy56paO8WrAm290chkHLTj+5QhcfPsb8ZZCLEwXVSjjlCIHsm8U2F+MltIjlq4D1e33U2B36hKQoFbw+CJYp170foTu+0VrQuqVud/FDYp4k20TjR30YadCsypnk5VKKtTRj7zmrhDyZCTxLjsgq6Pu+E7ZXAn/OBa3k3LCENQCIvv5OVgVIx0ch+qRgR4sel3NtU2/k+5vXw5LoeygqI+n/JUR6SZoO3cOYv00MSw2aw4iENjGggS/3tHU+oksH5KKfnA3fO4tKpLdHKPh834OSCBsAYNgeYSo8DkkPYtKLwyVPFWSSezscmDLAyarbbC23HRwgt5iq7gJsHT4c9vnH4Co2CQsiASD7F28wSILTrL1gIxOhTJ5gvQDUb2aMka8AqQCfBGR9GiCoCD/1yhuj6+1TZiMOWtHSxBABwGyKrKeGWtHWgrt3X08JE+X/yiG9Yro6CsT1PQ/DeBc3Q1cAB8PUMjh8Zn7PB/WbzP14lcNyrKZyKO4Gb7aPJLF33z8cCuipBccT5+VydxpG/CdBdVzkF6A4gPSc6+CfFuuI8Bd7NN2Q9na8utL17wd3ZwyGr5f4s1a3woN3tVBB+26LzcAMmBjmgnHMnBZpwYAC8zZt2Izv/YUzs8AB2fP8BxMGKH3NUYJ+Xr5qvGaEgIt3UYf+NL/hahhVsfocOGtvp5/SenRjc+/Eep/vnc7zCLldHAiRnioo/M/IawvIJMQUsYefXCy3eDIYyoXMvo4dgTNsToZIrt9QJNGOK0nQGPivLrEZ2SJSojT6mDqCqa7o/6nYuqdT8QvnU8tBQL6zPvWsgZytlkwF3tgn3SUndvx7pl0G1Iec9BItEqL1+sc+dfu1SGVrsR+uDLAaq3nVbhUkO5PnEnKnBZaMmVq3levGaZl8+qOhXMDbeVJCWuB38ySxGVVb0BUQ0fcKM5xE9kDw+hpIZ/R+fw9NQqzjVG3x43WhwRyiohikZXYXjzomawnTMiAmLX7Dy5nrXo60t4oJroehRVNJbZ7/QaNv7+wnhuhIrxGoZZYyPZqijP6COTBn4EMQAW23xD/HaiHjFhsNPw3uZT63Mq+UI1qCKDwYfGD3ewyjwKODx/jLZnveMi2ynN4mqCOv70mDTIJBHTqUfBUVA0nWHjx6qufPt0TVeI+6xC0JLBTXAwBNrD6Gt8HKHc0YWWb8W1JfFFYE8OVHh0222N2UniespnpszruLF4bVzrCBSoi6j/iUZdJOXRZBw+T+UboDraYGgfLXSPnWr0oOp+egqSxJDB7TE2YqyxTOkNTOEMnmTSFJNTOggB4lfcpVlFlKqDIi5xKHkKa8yOg8oztenOlvwgx3p7gLlv2QV2B9jEvg2gAaWs0llrw4WMCgKanSZs6iKjsDrwpv4D67FTYhk+y9oYz5o+6yRRDhzPhkSoPhEj3cDEkwuaH654r/eUQHfMfZkMlKvPlOKEEVUnbs0NSM4zUepZU9YL5dKZzrBeoBVTTy9MuJsiPBOZtIBfgCQHCzs9Rp97fsewMRGaYEVBIIzM77ZHWmbONLQgW5lVdKLdGsY7peBeFyVQ5XgxwRooFNYh9XhBElgsIcoNGZQOEa1VssG/1dm0qgHImJ6/M4pfCqpnCk7Is1WvZyr+nR2wzRDwv5/07bVNI6hLcs1RxoTuDRRpiUkmqPKJio7jpx6ki2X/dVTLMSRG1cCnihP8fPGetk25nZBweFkdKXBzS3tGrVTKnK6hA1KAILC0vd1ZBxc9OG+o0ozPLhZH9O5YtY2e0dErqpQhD05s+ngg5QLE0j83U/TTBa0FUTtVtAajQhyfVlpc1zsKSnF3MlFBGs+rJl/nDXZX39kzVgt9fPS3Bve1rRKdwS4fivRx2NzgEH99QnPPCi9ZthMGtQCFB8U+TQbZCjPYEYYQumnjrywqftG1wmsuVh/pCSYvmdQvBezGgByXNy/esB7iGWE+1ZXR9O28Eaw38hoJeqVDCf4yvVpsPKGR1ILtlwsfovnkeY9s/ImKVi88OcgrPq+O592F1SjnXq0keM1rHyuEbY+/XbhCnkKf+j6QT7727XxYCrg2ua7M70w71njXRyc+TwrprF14jS9cd9MpDrRRN8o04weERIJSF/zAo40G387gqZfR5d8gH8WW2ukmCuK3hZNMQwnUe3PsdI1RrvVlMYrI/A+rwpllZZq5fWAZyl4v5eKyS5HqVTGYH8FJyW0M6IW8O1bj2XKDlHHZ+xwdR9X9HiEA2Dl99JtdJk/ufK+a40dky35DF4qWZTp/7SBEbgb+dF9xyx2fuZ/MdwxWQtJNYppbB9pZhgJsaCvimJVPNWGyLEoHAcMdx06cKY4HejPCJ80rvVEEsd5xubEkfNa5DbbQRzawy/iSnGQxomqxW4/e9RgDjM5+GwUjDb2aLnhXKBMmlGFSYl9bkNGzdgE5hLNHwKszeck9Cqmcuz4Vv6BPpv1Ygjik/hCZZppzMmDk6dBup3ovzIiCNLl/YdeSMF0zCkfnB6FGyDBidopzU7LE9X9F8gcKJK64f+xQd//kjAH6tIRzdzXa0qKGfoAyNnkXLDjOUD5+NBDk01Hi8TEhaKEocq1iIEQ2yU+3Cc9BC7jVXZi8UV/zGkMI1KgPKJYkyKVi8mOCY7WPtCTtzE1z4tLcw2U+NMJ2UD3g2gtKtkBBfDemP3EfrfQNswNMGMDzLN0vXPJv2IBpRoaZQeBLfhjgqoyh+LanmpKFaF+zdJpZGszoVYJq3X02ECZauLdZfynJw9SXEXvnERkJjqgbwe82loEEBsL5wMScqaJdPcmjub+IMt42/jR1xwNi92+PPJvDfreCffeIYkqSy+djgMl1r7xm5K8DdW+AWTJOPp7CDUxS8PpqgugW0bNE8MHa0XcZS5CaoD6Fhdohp2oJjwdN2o/QHUvYQnbLTlS68VKcIDuQHcunTCTGWchwE+r9Y+HyegqGbLnIFQcsmC8EDJdRJtkAWZ1ama2RK7NPhm/EeHldzBdBfUQJdCo5Y/1zbHNgIyvT1YUGbsOq5rCLG1WQPvXZb3+8B0jN4562TzszmAykxLcrRToffHxgU0P7cB3kvj85MvX/xwmZ0Bn02hMrRdnyI/ux/MbOIfmCk7z2hDBosPg4ZAUDw4MFwLjY6g/eyzbvM1ZnOBFzB3g12PQlW9Lvbh0FXWTjHoS8oX7FRmNnet81JdAQnyc7sgpDVXICi7764tc/WMy7284VbpvWptgJA0VKH5igSgZ/u/5W2iIWH3A0YOGtKYQk1pAOBDRCLNS9sQb+Ac0cOUC03yG07hywo/nozWgTtLsnEYFq5mpnKObyGkgyFZ3aR/gQ9qhaHxDGAjTWnPnl2zzT/K86P3bL8znTaR6ygE1OwMzAewH79pkWWOUbhZhyY8bEhYDPNSYQvMZwIKJtqDOl4Hizz9m4j2TWmnhaEELspsteUew68gQM1gA4Qo3XGTLvg+tVmzNOKfvYKsRNZDBqjbmg2DgdXRodbMbLKnp7ttZWx6Qxo8/JgFWNHoyfeeJx1Rxy8/Z4UomV9o4sluoZ8qIV86iCFXD/RwSQu5UuK46H1HflQF1xgA/Qbi2DJUqwVQKx47hYOZAtD8Xf5yLRzm6btDMBgJVCeG6RJct+D3aPfPijoOIUft/YaiU8lWJBu/Eo5dKTWzux7CRyjVGrwE7JzalxqvpxS0n5DThFhKNXjgxRLaVV8wJpmwFsMLi7P5yMoguJCXorK0aQTdM+tdrENkFUQ8TYrnOGMLny/AcpuK7pkkkCARPMovjBQ97D93/88T8s96ULftSMPmhRlt8NuWpMGuUlzv9MBpdM1i8f77GiTKi16UrNHv2B1f55fHc+31vtdV0YNhpfdcnt8IdwLm6qRqo5o3418rBxC4DW3/gCYblrVoqutLp4NDH/DCB0FBxaK58mW1kACux59WuCXospYVWrGmAb6qKWJ3qmqEATywgSF9lk+c9Gw7C6qZAuPtDDXxs8mOPq/8A7vGOiD2d1kt6Jcvfp71q8CSoO+4alftKgZJyaBWGpMR+/yQqeeddhs+0ja01AHU2TA9LOxGGe1ECezXzHklT+rm7Fhf7pJtRJ0CDRj7ZyhHp252TRLekzQTYRmS57Akv6k6wOwl3ryB+YlNTDulB4yCCoTmh2GI6rfeLk4yk/AV1wLCzUUO2aqCt8ZThXZfbhiKg0pf8C8wHng0BRnmcOPhOpp60UzpCGpA2vV9WFyi4fN2h/9jCNMf65EHm5c4r7vQWnq2hLGtYt/ioCB8hZXCanp7VAGUNiSzqjiZoAPZ5gsbpxa1mAoz5zZlYcNU8mGzGk8aPoSV/8ccNLjkr4YDzxg82tL8dXYS9pjYhu9ODrBRTAiX/p9Q9LnhHJmN7cXSfnOvQlcz+IiR/cet62yYAwBTpotW0pzgx6s8s41/P5HZMJRTdvyYTFE4kgAm/5oufLP/hBW1OdkhQCgJHLdGeSSHPaehG9VNCIRXu2E659lnZXQOVmiQMa1F+2MhQ68xYhse3Z1d9tYyhbR5x8lFFvIAOy8qOELpAoeMxVfk1Xp1h7agpsXSa44+Ux1rcHTTSALtLn86YUKxexRurwNFogj+esqNkShgbTl4nx2n4KzarjtWdYXVvL+b+H8Rvhw8Gki4N0FwtBA/fyFU/eTUUaQvSmMeLlLiT0SkT/BpaXT2nr16a7DDZRHMR7tMBzRow1c2mgg0mPw/aEMmXHkaRVyaQcrcbfsIOSJf9EEa1vK8NInwY2QaJwwCAoViu9gmV3+hD34n/BOsr3abX1nWTFaxq81atkV3Xe0szk58YpfWi1TYrDzHoRRnY6Lp+UgZUn6/E7wqPAflmVK+kxP7ge2IgOlgWIHNdt4RNOHHG/k4d+NP/5SVjM7wQKLPUp1XSgy2nrQnYzRK3vWGV/dbFg89Yx5E/nvsKnxMSBKfRt8qhispsBMe2yehKfxmvGXAOK4B2Ui/hSWOYFCADw9MKAVLZMxkk7yRT0gM/IpcV1XRdLqE/TkO5nfgNdBFA3Ce4BUKPCa1NlqtgrpoHqpy6vvDsyvZm8A1PJohyLIat9cG8OJbMd1INexDT1fWRNkzn76krgOob4qo4iKTVilcm9+6xIoWvzaw5XKM/zWLGCsYbdAHDMAyhXZhKMF6LmHv7rAgXEuk9Hkodi46sIxW1OQPhulrKOpfFPOY5or7j+xArcN2dk3BMW6jh9avepwGTPVL+heRoOAyT8z4LH97zDRgkZQa7LQrfIGE5oFCJqi3Rk1MyrMHqJykLtl9MRDJtsPBS5AgfopyPQAP9VwL3J6KU7SljGfASuW4vJ/oFibWti15vWdzWFVeiONKhnJ2aV48eHUK1wRxG60w1qDTnzWA6JfrpvjU+s+vbZBwySJQPSV5iM3es6VHZnwCeC6Oh1mVu0d3DLm5uKPw0HyyI9LzgBAn2aT+21UCjmvwuQiwvyf5/LI4xPHOAfhDo/h8OIlUJ2u/Xb9lSAtTVMmpK77xOme08Be+xP03JNEYKJxDABoM17lrZ0fNtS325lO8HHYUBE4HQvLWSYIbAcyJ5PVPrPj1v40d4tMsjwAS/dGEy3UvRcrZizvB5EbBYAbmcfgKo74imRP8n6SB0XTlgN3viQUT6zuQdlgaVeA+0j3+JJfyQYCwYfdC7V41rrlQ3BxU/MbleWibk6Yw8szCRieKyY1Ah6forrVaxHEfUnUWvQyWgdY0bv28Bfjn35NduelQhrDLQRCnEPYlxb7QuKCUqT14gWBwG5zJ8jbMczkOVBo7Vovsw/Dix0RuY6qi8hDpI6++2ZwLyoWY8jVFQRvuRSsprzCKQardD8tDD6tM2zfcJkJguRJvPw/73xCJQYK2cE6l/04t5IF6KOVilVRKlUYBKnp1RAecISEYUiLSmfraex0toISzQJFcgt9s4RkgC5fO4G3ROSo2iU7SNzxs3IY8VgdYR0x6owj+d4DK5KiN6NLmYIa1F0U/8kNAJsu4zgFenjh++Mf3t5qI3pu11KY6nWjeVtqmnAtfFjK6RHg3Kna+Bn2uJkV8k1OSlkf08pSMhGR5TwN9+wKRh3yly+CoY01tjaDnSv2ZTib0kVYnBdrcxDlBVliNEW2XpaTDXs0AqWrDh7wjV4QZTTQNySwE2i1Kkfi7GrSnwc3/skH0ZrCdFaIpBHqppw98TADqEJL3Jb1sFMAjAhQjVn4NAK5PQrNQwvm2Ck1epbVuHjv39rqaUbalov7CbNHcKGyvSak4CPJZKBco3EgoZcjQ3Byir0vE44RHCrQDQSzg8F8usSqs8P6Sp76hwO3P/NG2TGs6Ozd3jHReL+jqSICqoOqQI8vzk4yBZPg0ZOjrlm0A07w79j+Zmjt8+u0Yl81HfYXO78tgsCSSp6Qdvg7AqThZh01kwZq+Xxeolos70XF3gkEXyjT23NblagZ3N28oznrR74pPfIgQIAanyGnVMSjqNP643LnZox0pNzp6noeKFD8rEMPseLHKiAF0Zs+TpEW1YaBk+L42zYGqTwnpNiyszqE32LGMspqM8UT2lkV+cPrL0tvAowdgitHegFoJyA235upcL9jFm88ZmNRhp/XKH4WGpg5w/QFbe21lrlhUGwA99Fl/3vQO/cWzBsz9VU+NFLXbaXFlsjxpoTpr1QVFNtpO6CAhDfRjIWxWUG4953pGzGEfRg4/wq9o/KJJqJ/t3H54DSujJEdZ5hAR7/UBbWq2gltSTZrCcn/vAkB7G2PwZWc29D9OJD/ckFfFqzGDRzWpaEbSZfnh/LFHd/D+wPfMQ1GP1j8DuCn4B+IGyKw1Kjidj7wFLoPGngVkTKuIYQ+2xlmCAx+tzNssgC4KQHxdox4Kl27PuEzBxde0Dk9nDei4XPcjIaPovM8UaqyA70pUnAcm2008dH0AL5LFUedSyrNLZjqJS6rk/KBxvCVLsDiVEpqLuIv29sPcuG+wL7vhOuxdcgARLb6nK9oU1cc0hTMYQvvUsP2DqMr14J7KYRGke1M0t8z0ZPL3JF8xacdgIjBLMRwHk+8rUSOh8OZnnC/Dro1Xjbwnrse6JrII0wNH0w+zw2Ut6+DwUli9o+mT8lrZRnPTNEDCqg1OqwWTy09LkGc6VRnNWEm/6+w/pis1/URR2MlfIlfoSf2cASpscLkA1cA+mIp9efyjzgvqtHqx1nToRsGJJLBRJzDI12hRzUYP+YoIsCJuhQY9im1DTrcJXWq+DqDQGkLVLlhfDSbGNY6wSLq6rXRIRUYtPo0Glu9jj+oz+cq2Dcsp8nfwJQptGF+QSVW8yld2Z3FnW1m29EpJugAMHdoyeCnSU88d8iz3nI5IzswFvAdVtgrK+SdMNpZw85B2+Z2qWp7fkh7FTwVsUcrj1Xmx9ogEpjrNJcvAQ2UZ3dqo/xIxyhPnhQVqTH6eeHgSY2IFI1NYSryYJKgSWTYrd9yDOJMAFSBD4PYY/Ez+FdGXzRZFqPGybG5J39I36mc796PsGFcoB+5O+yTFqyin07b99RyjnT3bNrQzsSemSNllNAtZLacouoYIck9ud7o+kGPMdfEr7PFFiUAdHDNvehcQUqDyEu0HNBuboxCZmLCEL3tR514yEyWWhDjkizBTp5PEM7YuAD127zJSwFR9RJe5M1aw7ahCBj0msC85sSzeL8M4qsmjGzJ9ipHvRJRzmW6NcaHXJQmwBLhhXg3CMazzq6mT35kV4hyr3oXoTVXnBhQuUsT/8q0rU+ZKKIycib9BurSbwljx/np2WEDRCmgYk0d0XwFqa59aWq7B4bPUQXBs4bRsLPaYv8HTnvinUsMwDIdssQZaSn1XsRVHS32NqG8vsWmeM8xh5SwjsHXLpZFcXOTde003W44yXa56BCrKlm4a8xm2sFjzeM4KGWShyLT9uOaeDxkAPH46lbpTBpyg7tNX9F1miflNIYNe82GOpnkboHyGHTH8vbZWL9MMT8ZfcH/c9YJQnynA6QIwTabQJmIt/h1jVZGXCJXnNwUh5vqGmdizPR7BIEuBQ0BBG+PIiClEef865qUv1X/rgBcZZxLVxbfFDhbxIYD2uc4K46NMhlnN+pbrh+O8uVaSg/CU8JCORzTR0CI/u1qNBT5a1iKB3K/mFo+Uiaa+sE/hYiMfnJh3+gu8Dq3JxbvHB6SOvM7304EZBdzl9YTNb3rUV/DekheKXZeTyjxAGRhVBS6vzxZangSFq+a+QYgrGs6n9RlsOmIgKSoOg4L1XJJyvq7gG3bkuaGBRIlK3JcoDke+6z22ExmENPp4JxxGOtluJudPzinLmxyuuYTQRCz5fSFGcF16m+VrmIEbonKnqqU/EkUBnLvcohojGXuVA79rb/XwXhRzbInsyhJdiam5HzGcN5Y77DDxi66HJt5/19y5pAspuMXpkCJDjQZP64PRQiGIYu/+5CA/ux/yFVDJnToDvwOIspuhUlwKi+gfx/Tv8eYJeN6VnWgM2wV74pTTntQCh+FZ2wC/vwz5V534ZWpUoWFagsehSrZtHB1UH0cN+1QeEtGRxwpbp7Q//Vn4c6SUTppdhKRxOjzAXFtun6YU4cq1zC5A0sxRtKEu0RJIkNs+wtU2Mckt3bYWhkliE4i35qvu+1BCFrMaV3hRoaPz+mc75ihh5l7c8ayJF0o0Ejk1YnRl4jfdi1xAlKfHPMS8PGdmIKVld2HAdw0Z8SohEMfypBQObznXynsEaVwlGc6Z18vH2ReTrtiINZqCPaul7dWC8M4EwnPd6aFjIIuaYM6VrgvcR4Bcwl1v60YbmT+ubt11kjnXz1yIAgkGik/uc6wea4SSBr8yBZjXSUaKRX8P5SCfJNgmWTeAPjrpDasoxpEIGMd83FTId4ys8vuKlx/ILTpnSdJaLLNAeGf8tW53V815NTUl1z0wluGtExd1n2vJF/k8EmZUncK1fLJd94VSewFwwcS2pcPnXCzCDY1A3KefhCdsbo2940KZV3N/VnH7a2qEboW5ZP10zb5RPKNjrLJXnrNa0RS5+akaP6ILiNXcKcJAt36R5WrPklTsOsvuuAvslz63Q1cl1BW/td/uuh9i4b139zJjBI7cYkQl+EMFd8/Lbr2On/BcsnfGJZO0EAmAL0WRIl0I8fKyHd2uRPMcv5FDd5AhDJVatyx8FAutE3N2RFryKHsgHj8nSkRtN32pohWF0JS63Zcgjn6oB6gHKb5DHhdapJakYRqC3HtXL7JYTgiquhhmpYb8R5bZYyEOS21rPIJHzaIczNgTAl9sJ7Tvar8YKAR/w1gG5pnlDCrFL2l7kSgnYSnRZGYiVVUxS1GnwIuXp7RvYG7tfPvtxI6yGZj26zXowVCDkhCAFpu1SSSq1D1CzayVTuDG47G25rgsSoFvpb4vQZCBfyzFLgeQAWV4OJBG7yMd3aED/1a/9bglMzdX4i51tESwsoVX8t5Zld8aarpnllR+CBcvkq4wOPU++Iff88LDG0u6QemM5+HaqCoz/s1Ni+YW3fLDAy4bid0pSKoNdXcQquAlb0nKNXQqDkOHr7EAF94KJuw/0/0BZGvXa1FQUhrBFrRgZTMn/9kwB7Bvw524GuV9PL9GK1T/1mGGkTsFbzXMl9km1/j7RLvKoHc+NFUbVKZ1oyNXv3nbx6Qc/LHrL+HHi2BcRvAST4OobMOb8M/RXw7W7Dl78i3bOxq+Kp9uHcqYPmFa6gawzgQKCayCinwL6wIqZe/GvO1MpeZ3p0yDrX3V1Z9c14qh3aYFxj6d0Uxfgd6jCKk8xk2winiYePqK5IYomm6CbXnTevFnXx67emF5hNgfOn0wmtmY72cHUIIBKUUua1s3kyvC6uM9VDAAOAHyTNx43MHxJC7bQxzUdd8eDGRmANC+HKygpKHf096mRk7bZUv6APlZlZsVik5PZKXUfOedmMmCktKlFz7G1nawOwbgFL1/Bc28iI29y1cCN/57650h3ctQ7fDq1pwDPHtsljLs0KMuQuRteaXbKRgvjRJDbymD9WYQPgk3FYvCKSXYEyeASd9Y459LSeMohwxd21Hljiz/GuBA9U3kv+0Xjb9hVrsS+i1BfFZ0B5+ECZ0g10ic5SnjBjzkQOpcyVUwpyzbc0NSAA/iyzSjhnUxJ8RXtnRisK11KvgraVNLA6OPu3MXpElNZNMkSPuez2JefOWaK0Rxp2lG6MhCI5KJy4D8wXiOlc8iIfdAEX2uQPeUgxH6ZwB+SDjCBqC0kt6HKmIT1R6sTrCdjem0GkvBp7vCrcmCRhwbGV0MMX2s7bxPphA38LKmoMi5mW6ExpvC9cxDO+7aDVwRu5mTvYOlqU4SmazrNZNkMLdpHVg+jhZXGizfVWwxE7kf7t62SewqZ7YH2sDw0rnPdDGcssbZWEV+OChbd/4nn0AtnSoeSimBGZuYZ/NjKAoONfvpqyNeRyQmaVP6Lz4/bs2QFNZlrYgT9gLxuPuwYrjlE2Ovx+MxYQ4S3WmbyYVpVU0DZRbau6XlJT65OSdb6BzKDfhHw5g9ZYcTMfxvCqTvizmkj6PktFXutDF5p5LhqGYz15nS8k0wkELs6bltlDV+nyhLAv1gnTzpBKzdaY8APUmMnH0VCjF0An2bwiUHJtksM0nUAMLA6ktv9XlVOOgtJBHWXg6TpFkOvK+6QoMB0WI1+zfYOGgRy7qpqLddm26H1PHjKpReV9zoQTekO0EmSKyFQgDBqZBinmtET8zmd1fLxtl9hUaVGqnp0s1YX6Xj5dgRshyoPXrAPEHRum+Msy9dWfH3IaFSFrGvwhxDukD6CHufw0gDUhNfZol4N049B1Pnpc8qCC2bvK7kF6o8jCHi62G997lRFJ91gq6hJuoQRrfnRuZqKW+DOdkmZRaS6OAYMmuGyMwrk/V9pUVsd6o+8st3MzpFmFuATWGObM9/eNmK9phRZqJ1lbMyglHxDMEuaGFzI4LWvaB+egGiu4JXKSjSLEwtSQhy9FYualNXPUdi73p8nH5HYTo4p7S9pG6vkBFs4SBb+Xz6xhOA77Rh08JBTLGY2k4CZ85KZjZ8VSYC8RYFIL+x23f15LSWwcz6+sXZoU4AZhqgX+nArN37+4iw9sdH5zAI0Qzt3EzWRG+R6/V8wDUkyYZECTELI6Afymnw4YFy41K2g+J7O1Xhu+yDDVq09wYUFInOP58B6kUVgrK+6nk8KglJ9+lROGvLFlvsosPpxyEm5BofEgjY8nEsMb5VNBuultosyoXswW2dIHjtm+Ztb0yFs275RKXdjs1xslRBfz/M6eMk9RFMN9irP9vrgTjpX8rKj6YUorC+pyP3disW8g+InpICkoxiErbhVqrs3qyOPQyBwLe8PetN+gS+pLhbhoEPt2IA5CJSuYZd/VHags4CPikc40NQrvRRm3Z8d9u0MtVH1b3Bej7oK5zxF59ZeYEck5gkE5hpMbvtI6m1RtFvlmycshIadc8aDI4/M5PhK7aV+eFIgf789VLTATUtFHKWEaK6StR00sxDss/yTpB3PhnmeEC/46FBWdQ6cIxkNUIEEc/s2FqKq4KAxiun+7RohCk7ImKt/gNunIHDPK8Wo+7e0gOpouRPXuKvrTMtdnWVMhT1gZV8jP4QW7mP1xxtexL4XXZ52mlnVZ9Yu+1i035BsHyqTmiAR5TeBo04Dt0rKNgLhZIQ5ZUKMtJdYC4j5lhItEwuPgv5asrQ4lrqnGzq9ZtfDVbSKIZfhYpRVSGOT/0fI230T+FO5mvIf7R58YkzVQfjnUeVW0eVa2bLsbphutITOmY9UpUgC6s6IOe9nk2StWkSuvfDMeFldDFp4s5OPcoX7KxCQd3j66Soq7XAhDF1w5nen6bh1E6/GrrFoiHheuYdiix8H8jHEnP0eKcZxdbdB5aTOhwhBUHfTqHgqSB8k6MmBI8jXKbymTWtluuChdKtaxYYFXRau/dcW1YXuRV7rdBYJy/ZtGVFGimGV5MrxzTgTbD3f74DzNx3nahj6wl041eowlSFCEGnXMEcRjD/9TbW433VPJt5BhjfsnxEHYwZEuSZagwVeAxizyAaB8T3dKNAqaQ4XMyq4NoGhXfP6ElqDlMxPnfMvX7jJ5+RotsYbvoD3NxBxnMhKvJk2xfjHR9nbc9BE8gkWVvbH46WMaPqYhtC1fdtvRCZY11EJ2GtXcdCP8tUIEWZAeMH1wE4GSGqd9hmkYU2dV1TEbLiF/UHF4kUJZSaWplV0Wv+bJqdBKSAHZ6JOxdvrwpOmTYjx3o2ZWXAHCmVEdMMyWn6Gp8yIMg7i+gZUVcah1sSMRaYdjYozzrNuaIVgpVeaGhFaoU4eB89LUaAZmtdfHN0Czw5c4oBEr4904BARoIcQHXHJd5gnenLyr/prkGA8oA3xKJmNGg5rK85vRHzM5nDIe+JvjVwxGOdrmTuZhyXJK1rmUSNh1bf5TOahES1mR032LhkLoevVHMukH9Q8iy+o3jffnkz4wXA8/XbAgn9bVt2cWAosig+S3HPT3qPPxH2xAaIrQBKjEYGAw2BTE3lToEcv9IJIebCEZ+hB7Vv+UXKutZo8siE0s+DW7Lhg3243aqLkBL+guCaMDp2pVv5z9yUr8QIgPS57hZDI3SgPk8IO742wuF3Y7yYN0L+CxNJI0cy3yGE0/jktAjkPMlnhNpXi3YeRrlBNNBSznLfyNdAVnNkToCeyKtcouQmoSA5OX69aY00Wi0g4wnuKhLbGDHaDRjVE3lF0IfIOgWXoWXkktwRMq9Fpb1R0mSWUdiczYhqBJFl6dFHlolzzYEfZ1uRYVHvdNa9Z3/8oVvvS4wLtaVKuIiVpIRtteXSL/1o3N/jMAx4JC/5Y6FjZ8QVdWweIOI+0FurqPFqA9/W0lKKfsva0htzwtvHeUXE+bxaA3liA/otByBa0X+5YR7ADKjQM29vQVprLu+Ar5yLcU93IoSrDvHrtoNU9gxNXJzMCVsHJ39NZzxd4gv6v+se3iQ9DpJMlUIlC5GdpuhN4KF2UWLlXoXPPkq+KM0qpzVWlt2Mzh0TdDH1Uk1rrFcYeYWmwZb9oEPdhz49bhZs1YpY9KTUMNWvvwq2SARQgGWg596sLhrdhRaWL7G6VXrug2Lf0ahDw9T+oRGxBtJ4bDzsXhkklZW1zjHzvX0C+qAyTL8TtqCaa9FN+BIHspaQ2FTEc20ZjrZXznQDkf9o/gBAW/TkJn0O+YAW+omqsW1xXDI8G4lN37z2i0GCg1WLjFlbKsV+H0LddTim3AlWai8AGW6ctW42DHC5wDRcKullMEDJpiN2pMOVDBTdrbKXIJ2xwRZDxJGDuNYVc7VK9vDimqNReQghB1knWkgTACjdS9Q5Eb7sjkB6OxFSIv2TVPZFuxZGmbQE7x7WVFX8etwCucMUpFVUqB7OQhkpQYsnewAuSdJQ2R3cEpyrnLv0uhXE6LMxaLoqjHM213/UsvD93WA6UV3gNz2cl9VLzutdf4OMgblj3AtwVxYhfjG5k5dpUGnt/VFT7uZrHvLERM0zt8YimTdbjqWNMoRWDGZrRLlvbsqVdKJ5YtBvxpqSXH7aFT6mBupCnPvXVBndBoO+J2axT+R2rMz84gHLIhsqlb14vwHUH+YqL6j/pWRHTgIPExiFxs4SYkaedMYpa0gg0XTygd5gaRd8XLp6ql1rXu58r9dHxqYImFXLMlb1JY8YvOfX1oSzQ2tt7bFgW41oGs//gmLSo083L/GprJF8LBRIqEVeHMjCCUqibMRZwGo/CqoVhgYKAwaytFFKLER2X7WErVMfM7eAwp4jli0RSzUnbUTSFuheQQHTgdfJdQKbvphwRVe4RP2yvoUzaA4uT7+g6bJeZL4YBjZYKYRKReaxNRZatGmSqf6O8JPhxNBPedCHMB4boW7hNYh9ssvpMotPKzMwdkwNgEtoomE0xdcBPEdlHiVz39cpM1G+aoMKBsbED1oaAFiP0CMhCD4RXTVcG3dMAks/n8VeenzXgLdx5OKwg2sxjU9NC49dZ31WMEWcQSyrWSoWhat2NtHBZJTcGL/JRCT+0ZHNrv770sFsNpclPkQMxCJ7F64UAw648lBPbwfzGLF/++i8gKH9npXefGr3MjHj1su8v17Y9YwaNham3fjYYJMlZBTTj2tMxXh+Dy0l1R/4ju/8gJLzVR1SThoa0PqLCgpw051eRq0F2H+CKQDVB8iMNdeIwtgS68eWHGIXpcy9N5tMA+4VjdDCZXLKav4/yYMl/jVTPFqnsi9WfYyy4aYwoqiAK/+sOkI6J4XYIximvItNzgixDXMmZrmbeOTmdCWsJANsg0YrDfON5bZFr9VsLAaW7k3fNgOBd1qMtEuIZ3Kh6wlgdfqCT2cXN7TdX7zfFOOSnYYIycNdJVe7oJQGyrCYI3HmNqYJeOJNtPLJWTlBFctD9KpnEHfWhbFPRLBGEDUjqSpQQKqXLKr9fOnVy07qHKpnb/YR3OZr6i7Z2dgPDT+tDDsbo88tdm8MsknkFdSNWb1EuDs/bDmzcQVIiD+aSrY/yXLS0p2VVMR4Lbbde5C5u6crMETwzxYBcIav9uNArfvqEpGO6jzLZaIw79f07PSLtrvlGOFccTJACB32HEchsETcLel9RASKHtj5U9ErCCs099dFfG+ymX0lZdXNe2HVz19RGVrmg6SrG9OU4pdUnBk8saoF/tEzTj/QTEYCU1de2OrkckGw4JpOfZ44uWI/KFKSBotvulM8/RXxpa5oyYgNTr0DddU0+JwEVN+sdj53YRZKEUT7NBSoPi6qYqLI4jGlnblRU+I+RBhBH4leW//Qpw2f6hAwV+T9YAr5TUidqyGKTfH3PbojYGM+9d3xuRNZj+r+i+72RHbr+g3VNYtSN5CL1gE8aB6m/YLtFk87BauSKZo+TWl0g3pFgsdnDSvliyEo3Y7ZaLjRqbnawOGh/ZRsmKSm5MFKQ08HOhapjrhmVUvEi+QodLUKa9VW+6q+jSTOb1De6RyVEYZRu7sfHqEBln+HSKJjOKps6aoM6GKhS1bDCnQUhm6jz9Dh/EiNZaF6r+vqtFBU4+EQsB6P29wWpNNjzMpUQ/7cyX6puoO41m8cX9w1xNn++NoQHyLtS6bIC6ED7vPTVhdI6Ll9d1/ncEvxe3qqQ+3g6Azb98DZXOXmf8i/etn+dArFJW5wxlExhpBelmFjXZR8bEqfnP5rskRuzBRzr78ieZtx38sS+RT31IW/vmfcXuiVQetL0hQwgB/vkkCw8LIyWcbfnMgiGmXW1VoBTwRwAmiZ63ywnbgV93lJBpQRmVWJgTMx8rkfW5+Uq4xeUavFDdbQTYtbK8MhLquXaKGpzXGOtPqJzcZLXKD+/4XXr2UpdhpwDtePgz8bH5u+ey1IiJ7q+pzhEvuXl+ICK5MuSfA8N7Ofs1UWRcL/FI1od+UFp545MM1cJaZ6Zxj5wD41LwMe5muKc8zX0IWlYz/DlOu3yeDsRaWDYrix4SWiy49W4o/NzxKD3DgY2D+JLONO9G2oZbbdw4VkzMej8Kw5IlY17uvxVNNOo/uNgo4xrmuH03aY5ni4G04xilFiOmIjc3cR+AFvTJ9JJzjFBWkKhjxFK3Z+hMFRetlfMn6pngo2MLqcphsmy3OA6lr1ta+GVCOB1AVEBh24SseNXSW8AtFmG0i2n8wdkGPN9TW5ho2wzgRt1a+y8xPBgSYyDzCidDWXRrZvhqE2J0R7BMtCtZMJfTY4BdoQF318BI0NDIPwMMIuFuSa/bGAhPwTYt7DSIkI8eYBtdKSouz3x9bI+L1hLqPsS/4UtHLrGDaAxpMUIeZRY8Seg/iKPpNDq6YsFgpyhBa4xvnsaGHJY/rBBsz3Mr/ibJqSvwgQ2FN7xz40KoF3BXvWqs1isn+aYKrB85IWpwiU/zy63tkebJg1EPVOELQslMe3fi4KUX7gmK+VEtmDEWt/tcXJHGeahAWaHCgv0J3BmR7/rTyZI37yA/wjzVbKs019rQnnM2+/bW/Ilx6i4SNC4J36wHLacqhp1+LeDedSy56WK5FL6uT7EAEX5WHgJVO9Fc0AzffePJ/KlNAkd3W9C1lhaNaMTALXu4CzGXxA82CeteuzOyvhsd+nE/Zw4hFYJOtsH99B/QjW95llCWwlfOxueNJ1N/7LnMSYt4lPUPTBZJOs6HZLsN5zRsdWWR+7jk5yOtZAGr30hibk9ht0Z1kIIdOm4FfGlQoAPVdrZUJXS2zfKF0Gb7jF40eciuG63MRwlE10haRKwjfl3x9cRrYnN6CaIKuWRjjQo4TGEoBW6p3muZF6hyOfA8EeQp89RKH/MGFFzF/WAV0HIJEWk4+vmv5TtDElU5V5ULxMq/Wa+L/RWGVFVvhpEkQSSsZFxyYEdagaoG98SOAbo3qJ/8tynkHqoyRVAy7bNjpVoGo6jEMsmGOJkli8d7/C8Tse8D2awcby2Q06c3Dv7mLOBqXVGHWvQMg3b2/U8504sPseS5RMJuDgGp4bLODw+uMr28SNkR77VDW6d3ctwjSDAq9TzSG76YUylPubr2Xqx4EyDWF9nKPRzzEKvm+gMeh+F5/ihBKPPsEaKzLpIYP4xEoRibCEURwYYfx4tRmheCz/uZ1+EX6qt0bMMhzdPpBHvvbXl5CPvRaAuxhtmAAurkCB9+iYUo+xFl+a4MkCFrvhz+3ikpATnPossYOThU5G8/ZmW6CfB2AiBl090FgXWtuSlHtJQpyQ8KcREHBak72aag7WfKScI/aMV2LXmaz8GkaYaNmgJEgi+kSXUlBqm3dtSjMEQw+rBVdctuNZ0Mc1qaX5gwLajRnRPKZzp5edXU0CdRVm6CXevG8HAvFCqASD6U6etqXJCeKyr6psWKSvFzVRIftNzOHkFAg3GwoTYz3wx">
            <a:extLst>
              <a:ext uri="{FF2B5EF4-FFF2-40B4-BE49-F238E27FC236}">
                <a16:creationId xmlns:a16="http://schemas.microsoft.com/office/drawing/2014/main" id="{3E260BBB-67E7-438A-A4AE-81FE0FFB1584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8824226" y="1146601"/>
            <a:ext cx="2955796" cy="2154825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Retângulo 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/vhKJSTIl8GFBHn1RFOpz8SMIZWIDGBD+ByrRJQjbREkbJWS6HDDJBbcLO7VjSMU6D+lKFy6C5khKJQ7dMNIQj8hxnIkjQN0H3BHD3VSxSj7q6qN03ah+upMIaOoU301JCr8tbabyw0AHd4MLwo1SfNmNrM4pdAQ1eBWeu3bAALcrleoRx2NC5EGx+uaaIaNI9kZh0TpxIu41jp3J1QIZo5njhOV+3Du4B6HpyYEz3EJ9znrZVcOUaL0vXdj60rRlLs7RZa4lTPidBa6R0jiFbeS0mI5Gqe7ZnzUfuszfb6gGxo2u0U6C0rUhsA7dx78FMjpZpqGj/qz9zYQ1LNqGbcnMpQvRKYW0vTTi8z2SzhzNdoR20gi85UwQPeiPbHrqQYqbh0ZDOi8Wu20t9+8b4/x77TKnBhoJt6fMBiI6imitpi6v1PWy8V4lCo2EO6Ij7e8ogfYrVXq2ZJrrkLYVjmxG8YSIlwXIUId1JhRvd9m1R+2zaK/SSdmH5vTtmUGFcEa9w7VpvvJF1zVXf45p6hoOEO0xOdfh/cMLEi2nweyHEpZJPhJSTjcqaX+AqSM7ZZLqxrji354ax/IqOHkdsDKC/kIMDrGpHkVCn87GX1lSEsY7d4F5HRKudSvy55YZd8Rtune1ESdqHnfgq0aLR8cpTCG2d6dmFbcDvcfQESNTxvTafNQOqb5GjQFRKMuCJjZ0RAkXjpwqVwY8RsnWbJX50gAp10FgHXi8xx6k7BHxuBCPJ4H7lj2s3bNMMsKQWkdBbOQ/T7+9K/TV+MOPENVobtBKJdnr92prTl2Qh7/AC3eCrzJ5VqYIGkqp+4EJuHNiU59mtzS7TSsLN0JAhCkEllnfXdg6yYBq0KQjMO80s5OxfSXRJ/4ukOxCBaLOSrjMAbwe5Z25iokSyi9458mHSOn99BONyUsAupfcyLG1dN5GMPdNWh6ZFC4CLHlr5Hmy60UaqZtdV3bx9o/t65/fAK+awYpc2ySqWeDoaWw5X4YzPl26W7Gen3uNeeh+gmzEfuKexC6aniNQCchCW+N/eJjnkOCnfDB21R9WMsgA4j5my5UYGQvPCxv/BePZ+qV/W5VgLBS9v85mblnuHXg7LUDgh1rwwYsrPPpbfkHZ3coCOmAoNQ5T8L45J5pvsBM3YCCAq+iczD9bNjT/7tLsx8+luY5G8iF46Obf5n5/glrQXS6mvkXHVkqzAb3lpYMGocBcQsSZqR6XP1VX8YwEr80BQwAbEHzrtXDaPFIZZhOym14nkldjwLsQWX675Ot9KInSwuFbqHJi3YD7zDnODDyJ1MqcloZk5vDn+JssABtoP9ELpYy8FJmLw2QXevUDxfi6ppj1xtIjQWmGI1q+ZVFYIIPyETeiFRdCxdmmcrgftVsdzMgHi1xtM/nqH/G+TClUcQ5WgZUs8VkLbAKucnaravQwtIbkcs3075/UEnCwWg/cxeJRuHpRBfO54IdwI8FAJJfMsqp+k2/7nXclyOECPt8EhYJ35FNKBOXVQzEbSTgZx2Uy6i9mD3YhnSVWQeS+4GviGHMFRqHFA7V0Q0/bk7mbDC/jVXBMfifTgfQdHbmb2GuRANoWxva2Bi3jTeFH98L+i2zJYZc1pW1guf7x9Xt/IZ3uAtJK1tTIyePgAwfRR0dF2zzlD+wXG65Lt2AHXCJDE9DyfAJqsjFTvxPSiUCR8zNQSdXgyGIRB9GCNdjjr47i0OVPQ9HKzA9v4x/a0ZoKxpzbL7UQV/CMHho56dovWM28U0hiCQLx0D06XFdCm1hrxnla4gatZFmc4XvWiOxJ/fZsY+/5Ofk+DhP9J8s+iniwqWKpoTRlh8D1QrP5ZsxVznORjqa+xFYrur/6uC8xOeiAIGnQeppEHtWoegi8SrSdUYlITfzhFN4Z3qAC7FWkU6yQyIgicrznPalhcZhYE5OvXb5eVS2vKMG6vZjclvhYH9hTzLBT2HhCuqiQCP5t2Evnfdx9fCuo1W5PsSqKqREmJkFXY/u3dBG+axfcNfmzzu/dBnnhRtHPel8eIDQYodbyZdQerelNM7ETnVfD3Wejtz/DghT7qTzbfKyDcVHttiRp6jSD8KQpZL+VoP7ZR8hLa2U2LHrqLcyG0EHx9sUCv4o1g+xc1Vp1Y2263MZj1cCWS902gRRPvhTcr3WSfvA0F2Ndznq7rk7DrN0o1aNFV6c+O4uOgLi3ZGzI2DMYVU36JYFOu2Y9kB6Rwk1vG7N33onYlmt28mvxXWoinyywBWrFbHnRf3eJ2qd4ALIXnMsknpquubCvWXxqZFJHULZ804ywO7lZ4mAPlbsg6E2OBBQSKoZTOFMoszKNkw/qaBTy7gFYb4YAIrVhTCVh6/xW+N/XLcCIrI5oN73m+D/ypR2j5DGt0mcVECUb/QlBbaccXEdDv/sHkhHgFewhm0X8L2U8xHc+arSGy2kj8SRINaTj0BMhIJfd4lN8UMmK1J2rx9+Dh86zWv/MySLXi2Ji1f+pguOWztqi5/ZOEoym9fmhw7l5nu4YsEHS8Uoxz4MqmHBl33ur/WqQFWgCDP/3NSfZJ2GYu3Mv2TOxGtv0Fne4H1RkV07nL4vEuFyq3mIH3EBSJr94pBTUYoNrrCOGrqhh1/ePIVlxqJgA248rqEpW/Ij7UvIYFznwyz0KeUINbvjSGXsQ/glcRDYCFRkw4AMbUgQUcSOJg/E8p32dfIxvB4wP2vyXBDsWplt5sSs6I/lUNrgT6LczK4hKeNUU4RfRtS3Fv0dIn2PxweGd2RMGJZa0vjiiMIH/UOW/l1IDs8XK7yhZKZDzD4x/vi08vEkDIMf+GPDfzSzu7tWbNM+d00C+AL7iQqHEz8+9LUZ5SLceUUFfmSMrwL5dvhvb0XC8vqrMfpokA6ikPR/B1JgHHJeSUKDjvSzJ9cCe+1ioMpXMoQ3ETeE4x9XySwIU5dcGV+SLebHQlX3H5KmPuF/df/Tsa6t5BY6HmcD/PoNhG+xB1m/9hIJOuU53yMrKiMqYv+Oc9B40bbvSiin/rJhjt7Fr+BSezMMzUZYdgnnw4Igh9kqhFt8KRePhRmIXZLYYO5QIwD024hDAquakidGg0fABqx44Lcm+GMfGFVjU/ztfsUVL3Uid5erBxEfF/DKTvMjv0okoEmnQWi7zi9aFpCThqCC614XoW7dJj71BBy0/uLPcV/Mtr0KagdnQGwVL0pSxNJCn/FJlZWait3k6P/x+R0a/b2TuL1GLHQDEDe15L/6IB79j/xGS9JOR18D9fO114x/o0kpJwS4fcIbZ5NTYyVN/1DdVMa6uwjoiek6k0L6j0wsmGPmj++V/xNG77Rh8CYgV4TWahsT0yDn+5WM/maVGRCLPmYY40EnXC7aoCzX6rD9TfVYc+LP9nrdJ3VapNesQZ0vJVr3Rp+/XBLVV0xJQJoaTPTTj3w/v6IzCo9M8zIGGI+LPpX/bqmpCnJR4IAFLAY8eo4EzPHP39p+Q/vADNX364+M3EqzuKU1eDC3WSqjT/dHZCCn5XtBoAfzZy7FI1W58yB9v+5LbRp+TrUEaUKBqb1FCufnXTLs7sQ6BDjR0g4ojItiNadeBGnhRYSef8DLHqR2nXXOBmZGsUiksrsbvtaqcL6VfysnbULKkkXSzfDs7nFQjhLGbfkJEVSILKzpjrUTwvdi9R8CiP25HPvH50QCUY3VMYqZmGr11/aGIGzqJ9hLSVg81tz/T/PaXfFT1QS89q3jlctjSBBbU6PksQs1h6WUrigK0PBUsxN3Jzx+6qQxPxKgfcSdc5ffC2ep8Vp9OGqzc4BYW31h/y0vm/yTMtt3SsvHNlDeeVw++PzG/Vi2gnxhxzRVyTgILnb1E5JWQirD5oLpCcXh3Al27cGggu1we7ex1Ioid5YDHm21jsy+cRquYJKEbOAeITNpFW5YDZxQVbwF1VpHbzalEw0UKZ3QLXgccXbQIZtFJ79YaNNLlLPfsQ65FpB7L239Yq5hNZniuTYGWDNdQbc2JI+yqGpd0y1bcU1RPjx1OGexW+2Z5leTfQXMTFpJeTqxg3yWUxhuxjw7BIQR7qm9T1SM/Sdy/87W4rdqh6cwVeh9YruFQ87oF4DdKILp0x9nIs3OhVQJ9lc2ADeTRcTfIFm+l1+Vm7umNsQddv3uzojcPhjlz43BrXUIDCP9sipn4g3YtedkowjqcKhkcHMJlOCpGl+FThSDgFuha63a+zUC7DAwNLt2QAuIftFfPKjEgGcViy37Hj3wFIL24zN27ERRM8S4L0nJSFOJUQ/X8w8hurQj41UIluLEGl5uL16EOENIAQlZF/CU4/4fjV7lyC9SrE5fVZ4lKqid72sP5mBrGyXXwSseHHkWCm+6gVohGftVnoGNk/lW9LFcONpNoyDrjWk4FRBNH3+1QquhCwgoJpbk9wFpsP493eHujZCunm8GfAOs0NOHMsc+DMuSwv4I55VV0zBHU1/GsnTTRWfCUsv/1/fgwUL3/KobtohudMesML0PqbuatpVANNZZknqS97p2j83YODK1cTSg4rI+KciSaHEqaXXqnSCtjqQSyKcAhBItEg3B8Q3XThJ/kQrTdl2fCbbpsFIHXmmoU4t7YGMl74UocjgLT4L+bNiw2wIFL6r2bqLNNCjXv5tv6R5tW6RCQBvak5x6OKa1w+lR11BqjJDz+NixRX69RXVTbgdhXjUxaFIDXUcootjWdtoMSUqX9hD3nUlM3RdZH/TPYDq/pe6/wk2qVOXfLTtteDXzM1PwdhVUCV+LYfN+Yqwobkb+6ReSEilE/dnW5A+Swaz/E2BvWZnET1I3LJrYMAkfmYcH9GX6gkXVp+TPD/1tJkmVbKSa9+GU9SHGm4PSldfL0R/npcshAeYEptPP0/IrmtrjZyXVAkXiDmHkAcOCEuPNDA1OrlUOsYy8K26iuJNe8M2JwEVMmf8XyLDO+UP1l7eVC0ClAoYtTa9+9WkWfWdKzWwm00H5nvn1iw8F+4/SKjDv0nS3tYShlXCtbr2BrddfUb91DE3RSBjNRQnfFBRoyF0fMBqs0LSFPui94eoalKMU/nqghctyuyLV8ClW6aEYXez+aqwG78LAmEeFLpXVZ1A8Bs1yoeHfSKxMMTMhk79jFG6iSXbH6tlLy59yz/diksUG5edSsaTLlL4ThWal67Q73cYgzUMClUBTrCkE2BsQLh9qovERI+LIxdu8v/AfC8YfuhJ6Bb/sMVs5wu+UBJrJZNg2j/91cfCBRx7+KsS7E6eEWkxNUml+51PRkH9q/VfFRdxHazNgG94N4nh1i8Ug4DvuUYhAoSA1A1QnAORQv59DTvtu+4i+R/RWQOYhazW67st2Q5SCoMlsvyJC82QlNxEBgA2onUKd+o++pMPJesQFnPZJ740+6KShIrz0rf9KhqJMmzz/3O7LSLtacXdHYtnky+hzH00Q3dOM/YggPKIRmv88dEvJCK2OfOX/oAO944G0WQ7y4w90jmVkcXgNRCurORseowyG3/J3qkMgiMe/6XGHc9m21iUif1GNmewhSEu+m2Z7sYpcwGX1piFi8oQ3eBdy2s/wxZaGUXQiDeiNRtUrbUUa0Fc97xWsorb9VRgBhgwLbNOb/uySyd2t3tWdIjHG9cVBw54+u3U7GvgWsbAIAlZwTWKrGg6cbGL7y7BFmIvo2YO+m8DAPlG9iSyy5lwvr/I2DLKIv+k8t+XGKh2PhDRN6y8jzLQYMq7eOGxkKhr54fiZzBofiMLiPad3JFfDFCiu0/m2Ox/aMP8Y3ywRw3ZkhvQv1fKdmexZ/yyDIQEAuX5ZsTMWEayxoi0zhzYXYbAYioF0F36lVz9DOmEaNp6UdpGH1LoJDVjONocE/JOhn347NDpqKncjOXCyCwWCwbQPUcfsVR+GDojHELQgd9tFVDDS/6LBIZKDE4ctCuY2C0RVRqHeStV575ZdI753SaW6dPyRjXRer3OGvh4FEkDUjov3m3pOZ6ZxdeNXAX97eE+/2EyvHaS5Rs27btDvnDFpe/Ksrr5MsZM+1+2HYTT8TFAZrq/Uacaeb3RsSNZdCDJB9CnsV9J9+SX+NLAng49GfaEMxBchPXYbBFSaRRZXtiDWuqc2aXQ6AaxnZgkkFuNhaR8FlOnosnKjk8XKZ4SmkmRdS9Otglbxa8WQyIT8FRXt/w7rDOe39eYZd0YHhxwp7wTCDR0+8Mei8HL9fe+j2FrBDNSbDOe1Jt3l55oML8aO2q4chUqLsS/CW5Qu/zURYFBimkyTWnn8GTst3tILTOD/B6BEEE8x1Yto8StIl4/nfRK/lBT/5bE2jLcQeun703EjWAdXLSh1/GCDNToJPLcWb8zEBb9veC/t2jd0e0E+T+eNKzcz0AteRBzdbSVQwpUWbcXHr6Tw1Oe/uVD3Rea0QrL9d3ozIcyy/fgCuXy3yzCgPnpfV4L6YbRcADgK6ky0E9zRlC5w6EF7AeMI7BVBt6I8gfrGkWAi7WMeoAfRc49aDnX3ybijfcCnSImVwjyuevnqEfgrdD+u02ceMKjJ2S8di1dnws1vaNkpeiHBACFNBkptFA3iCeiU21xBWxs9jm+I7fZ0DFBenVS1JSCY2yVE2ubZCtR1319cSR25olGq+iG0Twe83zraNBjUdaFisPI9BAWXxQdd8E32Q1qs1HE0reyKiONJ3BrqK5LPamd82pvkc5jBGBGtgHkoAWWVNnGiQQ0K2KKpOR3EkaSwK6QIeOCnUTG/Ha2hOSGwvvSF/WCoObF01YtyX/ZZZ8IdAeqWuRM1MRHoX4hVuPR9BJjBP5PeGvdGiT6D5CdtJP+I6FYAjRW2+NKWZgcC6yXEs6FwpbyfXuYAukVhRZCPP3VYgSU3eVKxS/2I90LJYolqkGXE7Dr1Es0KnlUrGpLo4tz5zlF7tJzOF9Opk/fejjQPec643IgHILEYwfScAIXg3+LZIKpELgTV/ySobZhd4Acy9uws/90sXcNtugUHwbF1+yo+VKHsV593pW1JhxAPcXG/iev7WOJWN75F5DnlKkXGNFYKk1Ygj/Js4Po9R9og2ON0+76EZgUDF0I/Xd8WNHZP7TDUFARzmm75Yp0KCYXRKu9M3InNHsxBr8GaVpH51jjWS5RdrUwLzc8tC4Q2vpCf8fSqpnBULr0uImlEu+xEU0J6fGw0WptbW0DZDjknqL+3Z19/xvPnM76w+/mcQYVwX3W+pwx7iWF+lCEtFmkeaWgruJXLVFiWUDUmKwBxPosg8rBdAgvzZ3xGxQ7XutEdb2zmZxnUCW9gCvc3jT5QzyDzKc4Uan2o8orQs9QNx0RRAQ455dhivi+D7EQlH6Vyyqs5SAuhjKQz8+GPqltBH3ICASGShz1lCXwrG72eXH6/M89fIg09mI/xn/b+eZovdHl4E3SFqONjnBiy91jYLwTF13y3pbe3iiJVfTtPKSMg7szQ6yaMhuHqaRTS7qyEsWQCA9dxR5tZB6r2p8zm+MSuLV6Bj3TUC3bNPh9qRDd84/XAyoypiO/Q+NyUrmGrp4wJs6dDMQpriv2R16CdE6Ewe9xdV9b4MHKmOTrDj0gAkYuTkTqfZZqJneKiJn8xlSE+4lgi4bq9Hn4oJ4XJ3UGm2c7khfUhhuuR0CFG0YdLSeDkbMpVnRKpYNj1qRjSYeg3+t19e1Djt9m/qlaXQLm6Jj8/F9q3CBV/BddS4QLPk7sCK2A3+OaBAhE2qpo4grBtzsnPbLqpbp77zXQabcUycoVzLQyDuJw5HFfeJLytPvv8vr5Eh+jNu7kEd7SqIpp30YIpyZ06uapHFR7DK0d6Jt2el1GZhtcUAcJ2ujA3unSC8M6S8D5Rx/3h9DCr2wVMXVvMERbhbpm8kyt/tBQu8AddvFU+BvS3EhDHdlcqC0aeLGFvpKpJ0+r6qwEIkqhLbRCMVzQ4ZEfc7ziTuR233W2dGOcwPfpj1juHGsZPYxYZ+BZ4ydgqeXjZ5KaOUEYIW9wSFk3NhGVkIMH9VJvjawJdgEZz6+IJnkfWYVb2geLnaCu6eaToqHD/nxOTgQZ0Ux0x4/mXWwg7KZoLmRPtxsIfuRRE6BCD05TZOXV3Z+Cr69CCSNUSQQe6lZfkb/e/ypddUz+6fSxz6/VRZlJIF59hvq6Jp8A8iMJh3953XWkyHPfkFNq5jdJiGACxHsCDuHWcHKeClFy+JoIU7a9m5bfhaEP01iEgJGafkxukAG2kDLLCZhnRzUUG3K9Y8CBTvnxkFMWoFPsZS2/jpUmr71/ui/T32z9EYECOVCfm1dxbkh3DJ6Y61n5f9iWpuKMZGUJXMePWLu1UdTilVVJwJws0z9q/zSWV7yxF/ScLcyKNkpRrvwmm1KXXga4L1pZyXp95PBWauNcAADsZknpL5e/nAup+BxtZMtZfId8pgUny9o0QXiHfqtFWdT4X/6Ja+G5zzostgauPoJu88uSX+0seuiJw8iQs+QvKykczu/l9NZep4HUtEc3Z49DSX+rG//VaRn4xCNp1MIVjJW4vnu+q6kP4jy7AIBZVQmUPgbhtN6jL4RHL5Jz+N7fZqQIwZ+St39uKiG2mbmsSL3IC9ff9ZRTr7Crvmk4RK02MdiKw44LZ8WacggNCruErFIIzU+IPR0xCVLFL4qKuMqxfDduccazxTjjF+zkpV6r0QkIEhAY3Dwxfo3Oc23cxzolEN7pxRsTiaYaIN/WilhcO3rIlkeCrM5UekImcG003/HM6aKw34+X8pb5leZhgTsAR04+qXQ7GQa9Ynau0bsWgBNgC9idh+Qsn2RyOkP7HfYLjBm33y0JpJSJizQhs+SRva+B00vo51WHniyPgLripDtyv1kov2xjmQ6zk5MJ6fhW0EcspzEiSVYNBUucJ8/NIsc+xOAXKJN6YIyieyWoIoZAzygDQh88bJkTGjlZzNCFh8XKOswM2ERg9DbzIm1mahfHp+T/IJZryGyWjs4Jlf7+kP3eP96Qn9+XQycP+3uWBo6j65/2XYli8OwUMhKvHg/MVwjqQ/6VUkszKA5h86dI4c+FkrQ2fy38SEseIFx+f7O3g4RPOxzQ7hS86RFr6MOGCvrL5COuCIe9RME+webUIRoTZaffERmrObvWXr4apK3KRaKCvNoFkIhKzloR8QDcbRJ5PuiY5LVtIYTCLMVwypEXTn5Th2VtjA4wTU0aambJKzLobtuVFk3UkgAzTnKzGc7DkHBSMzs9udFficbwbZu8lXE5Bou+UGSOZZqZZg5mT9jIM3Riyot1t4TyUb8ZvFe9nc5pmto5pH1pVtQs0fznMHXkB+CcGTAh8o0rgYpYvMUKgDmsfUZXKLY5rdhoQmGzNCyfPMpjqh0fmLFPVhu/0bZPJY8pN+9XKv0PVxNjdepBpLlryFEWb6g1WjRo9wcQXDhSRmiB6oFLpl4BU8L9io0ZS+XAE+pfMBFeNY8EzuFOmvMgquKUKnFT5Uymw5w7kYXNjhY2HzD0VtpTPvrH2G+I0v1/B2vPc7/hrRJDdfmVimApCXs4cJMCqfAyQPY36LwuzCRncwdphG0eEj6gK8+yii3TekvmU8/w5/3cKn4LrwC14RB5ssaxUXviB5wegYTo1+7o2QkW2XDO7ZoXvUUdGXRp8WyXhUNjNE+bJ9tscosBM4d6f27XLvAS3vJPMBwNmm71Yc+LoNxeu2IjHVSUATimyFGIIaPvhvkrJOXvqUIae0lWVLMJe5w3Wj77KEGU6gO0Eo3Si5zanGwk9vrhkQTcIVlk/OimSmKmtsQ1naZcgN3gpR/mdPbKLfDz2UwbbMTkzgdkH+OossLFkKjtBntQb6Acew+bdbo0LaJ9yVIDHe3QPK/Fx6QGtrv+fvtWvNvkHch4mIo78nvQGXgsgR3epI8UNZjlYdEwKhx9T/zPobY+66ZbI3SHRtdDwvoQlhZeoYwH8Ix1PJx5sHYA/xJtzdq9WUh/ZhTQG8cSfzAHHtkSA2Mi3k6Kuqw5Ca/fzhqeg8CpWHHX1utfkX+X08lRM21MC98NANXW99KLF7W/0t1GzstQyiCSl6qREeT2S2i1/GVVYpo3UNH5VIR0S2hsp+hOP0QJtZjr+/+t/SslvQcU+vkt+cyuoLPOA+2eKH3RV5GyeFqkRpW9qSMDwh1xeKLuBnZOXlohh4W1zdGHVe13uyYRVymhGlOEP2hOGaTV8Ng+ZuwMhoCIK7Ovmwe62mAo9ipXdLpi48KzR4XiFtwHdBBl3CluquoZHew6Xli0/CQNAc1URNXl2dmvj1EAY34ZaRXVXx0jXRzekNBSYcuGQ7WOCIUiIy1LtJCWVaxljvpX4VxcaJ/ZTtLgmLGjyOeDZbq4dXyDeA2/FFCamumo4wBjmSsox301jH5Gr4JQEKZk8gs5kGXE0vdB4SkddJm17SJcCSlgCPYpkasXK6e2Y3oK8EEWNrjEqyiDmzgmNsjbMZEB/eB0AimcO4nwypou4nnyC/b9h5a8JHjmT5SgUv8vW1VkotYA7ruN7J/Rxm2oln7saLBpHnJwwHpLcGu52xyPbT0dbHNbuXfbrxD2ltJ/wIML7R78jOE1p57ize0s9sTtxvY849odMhA06Qlt0qrsRr7W8BeJZpMV6TJAsFBYdR74mIcabrVuIlUJGZEDnnyF/jmfQT0uvj05LNivR+fC+xKMTBnyUnWoVYHt2ynkAelKdxoNT0bk+R7IncLvs5kAzA4YcZ/msCnWdRwN1aSM26wuX+6OsWmUp54nP17lCKUE/9vYfcjCxVo77yWCLerDRCREShz8BynHBXg4dOHso7vzQa+viqs7WQGXw9Y7eNXGdH7JRTlyMCzQJwyNW7WVm4jm3wA3Cjmwk/jYB8foFWn89jb9W/nYo1nDvrpvC5jzoA47vi/SNyy4bkV/S1Q+0/D/Z5yJnr/jT1R4S/+3lh0kg5PFwCcycyCCNdcigV5293mANtU6qNXPQFbl+7Fbu3yPkziuu8xhM6t8iwo5QWLKywStG9NavweS09OJTq7aouBrgJdhgIelau0py9NVCLKmS48e12o+1tPFaP7mKd3zMGgqAZ7YcI9eMQl7Rt6Ymk0PJ/ARIbwHxbJRsgT7/SHLF578qO1R6+17Pikj4ANbW4No/nRximyjwNumdp3g0NGmrN3qRVIX08nqB38/rEP/IhuKn/2FM92TQW+/t6pjPN9/YrILr5Bhld65KBP4vrTuzd3VQgq4ulV6boSV4MUeJ8/8jZxzZtuzUF0hwVECXbTo6sBWj/K0yokq3UnOZCp9wpm2nO1DHuh84OwUxlJRuUmwjiayM8TVvXYn9akHMLp/BDbjUzJDgOOUhB1FJqmAq81iGo9x3bBhqgvm7n1khcJUkDiX+FxpvTKguZ9NpZagvMNt00THxKiXdci3oDSvI0P/J3ojkBP6MNJYlWFYzTRPA4HclvrUtwjLrEsCBuWwrVoJ+VVJ5xcti0depYeBo18/xu0KqV3rGH9xDOFtXYXtR+lgBAw6V5UYiJNx0/jGmH1uhpml3VgdRp2n0QFkEjD8NqaIeQf7GCw9BNBZSOlu8n2ypHzGM1t9fce+lIe6Xg3vxvLWvmEVdSelHAgqSEmjaxTSpQ1ZBUxE8qglfYOLy7z/uAyV/2mBpBOLeC7agiGvutfiq2gSlS57kr5OMj14W0m5Es8TFiKnDzo/k7gYyoouOUKt4vY2EApFt/O1LHfBvVhlA3/9YuD0lx9r82PguvFu5KdPohFXOwqM7uhxooPW7CJ/MT62iIDIP4WJWX4RbOlbGo3mupnEcNssEH3ezayyamJZ8ZNHAumjD6xRYOdgUfSqAV8aLCzvs2uWZDcjtkT6n1GhGBiYGL1qv7vB9jV7F3IsLdvP5OhdJDX029T8Kc23QuDaotzLkf3at/fQ3UzwVIvGduEf4hvfUQtIOoMSdvAbTlhOpOWf5Y1HJquIYqTyZ00R1zLiB+W9vjMpByNoy0kNWE6BQCJUrOS62cGLTadoRlT8zu/EZNuVyDkEatOp8VlkvGSiHsx4F9vS3uR8xb2HhM5H45PmvlHmH9AxyqD0wCHHgvYb4VnTJMIqf8YaFbLM6fLbct26gnysQQKhUzP8njfrSh3srYaKnnYRGfM4Cq0C8v2wZFP2o83YePA3niejnR+lRfDn0J9sFZepbac7cOUAkq/LlqxwIJqZFhLLqXEquPqc8LeX0fNyukxOI6puiguZmx0mqugOTMvOecOLZRWImHQbbh0vJVi/Pxph9pBMftCfigCvt43NEIoTqKxHSX9IPD6GXxIqFBHzDCK/2ZqIe4r+6HmvAT43R9/632RLyaVxuTLJshSyomX2z/V2na80gxEU/UMVunzK6EiMyRmODSkUurjqepXONB7Taz+nk5cxiNnr1aWsOVNKbzzXsu7uMYjbqSIY5YONhn1dSi6Wv50JlBEhiymJLYsGyXGrohsQLCgxrifKQEIYAQhFSPU5XsiiQTGWlqOLXo9uAM1Xie41YQPjI0DbFuYPiborJOV7nAcpgutBHUWQqy94o7lMVz9XztP99bLJzvXyA4khUMtjhKz7JmnfD9tODpfNFZERra6DK13BBmVpDklh6hXrnW+e6zvDNoKL9L2MCZrTcYTwKtPBF1CbEUQd6sr+0KcUPiJ3alXscjJc0RU9/0dbu9Cmn0Wuh7/5aycYYXI2u0DQjSol9gCFfDMzGf/pnLp9MMSNBumg7HvUTPrUZjetnQHd87MbqbRahUEIoklyYJKZbbU4SfOUicwDkdGX9fRwaDKZ0AG6j4FxkLgn1SUV4/dgzgkDvqdidqRnyZwQasJ/mEQSVtqCCm9rv/kZWl7rNBWv/bQbjVKQRdsihLh57W7mnzs5znA5McsM2bg0VscVEADjITgltmuNysKX/QihOd1cuWfVEqXOyUAYLD64NIvpbCHbWbtWp6BguZiIO/ILComoUva27e/A8GJ/i2nmnigXHjKYLNQREY2zVqzQEkHo3zsShOR88Zj9kKRyBuTTyj8Acjr1dRQpIRbWO4hjFAKY/+cm7CiAZtX8pPeFhvw0Vqp/IfDFQ+Xlnwovs+14GVoVjYFFH1jTh1Kw+qIGtBxseQ6eemyeQLOGpUwMNq1GkczqDoA1Esr5OoZ9lmdRhbs3KCfIgtHqgAhnJ6HOAYuz3F83iT7kANmpEh4LbGFOC7xMrHcBGT4VTVTW4nDP0xrcXhtS9ngwHVuzpn8oGv/NT1evZCgyYoRxFjRUCqMh7K/Xji6Uwel6KEMi7NOYpcpAg8/lg7KtMKBES7tsk4jUadX26agI0epcI3pDQIibCKpxaid5MPoIqV5BQyyPJXAcaOfS+Ulw7XrCeY3n0JxHhDaP1PGIF/2QeXRtj4VA9NlAr4VPh+3V867BdzhJ6BypRG2FHHudGvvQ3/WqaqXP3wXmCReHa3sQgXEOiQw2nG5St3cv496Ipw6fj5SSsWbX2bZLc7xk+iQXtaJBmH6aisUV2AEe8SjdhpY75CxdrEVuTZXj+JdSxvkMuwlP3XhpX5JRdc3rt8mWZbP6Ps6HFsNUekb3a6N6LetQ2lwtXgm+qWjVcARSm47vbMFyelr5MLoIQdE5JieMPE93xWIFqdXoKDFo+utAelW4A7WYQb26bk90C1NlLNX1TswrKzxowg2eir35KrZT9ERRYM0PxD/uJPIUcpQJSkOFPOzZKwoTYF5SPz53NzILCuDgIStWBvi6VIH6dyN0QuigPre3vr7l2TpRzi8zifVraSnpzmbxrwuSaTQ84gXuk+q4Md544tGL+v53tucnXaHzQlB2p5Y7vKw81oxUPSQWjmk+WZJ14UQu8bqCTuA+PMR1ZbFTWSwUhQiBEhdmIgjfX29KygHNAjg+GoaWCviuj4aohAu03YLauDApnyXw968A22ytH/ywzvh2dicpmyu7I3TI+zqs1IaIQx4R23gxrfglU9TcNBTMCHqO6AqExzQQVBz/uq4LZ0o6A/Amw8RQDmbCSBz56w3tUgCre1aS6jvq0pZdD2Mfmev36K+43yVLJ0lX846iP/KhFISH0F9U4F4Be04kKpm3Qz6JoykFslG3hJQ7NMrlmeZPXoWbqZQg3JkRANmlW9vZmUlbWJJFVJG7HDq2UXzaCYDR26PSGdXQikA1vgU3eZy0Kc3Yo9cL7CcuZAtcNVudnIXALydeTRYGUL5WpfgQMCxo6NU45b3R+t+tj3s7qKEH53J1/SYlmWNbu5TTWqkSfPvzqgKZQZbtG3MIMqsuL8kalohMG66zQeXpwt0IPWxKRhE3JHunJqUEb7Hfz0eZbHnnnFDgfIwhNlNyJ/+zLYO4t8JbG4HQbmB/WDS+RxteOWIETMwomyTobZ+x5DAXbZhIC8DHLdmZLRMTs2xCeevQ/mCzbiZTpgwXyomgBwkW2w3XsFzzjBQ45luBZBnJYvSYI6Jh8wDU7tCVNN8+GSKrFg7zAvsD9CTOaWNAT72rD+39BSH4/Ghx7Cbj1Y/xnN8GW4AjJwtzVVZrh5lCWTFGWWlvY2oEynI7DxFzx0YValbMQqvYPAZrmf33iNcBV7C3eTgh2VkYQbJH3hTU7I4yK4Npcqe2CER6LMO5w8dJZNEjsr2qc9DiOxnGnbZ+T9rON+UiXTfTqCsil2ZT/J33GSgz9PJMD7wrHbEbwXCDkOoTRA2Qk6w0996N5a3tJxDcaTQgdRy7gKOAxUsXiw2BLKNym7G1wuEu/mtzaJv94i+iYJSNylAcOkbpab8P+uZ0P36HocgkP7WW5meG42llQM+Gtv2R1vdyRsXq/agAnRF+AfwoEzRzrSlHtsiBTr3E7nMlPoi7ZIpLYm6V3Oh7Bh8hrPf8GISsPIiKPmgLtcg5QdnhdFHuXxGErXTu25OA8nCUqfV0APOTRMHNRZKuH1tLTSoB6k2AF3EFA6fW/yXG85UPG56r70uW/EDPR4gl34SJ+U6LYHU8XSOnHVFagxmKlDGPF2jq4i2K51KwDnvtC1EhWXJwEPrzMSsY4Dfp5qJ7Dibp5VOxRAihf42nX/a+Hn6ROiHpbEf89B0BOonaPmDG885S3gy2ArDJB37ubwuRGXlY+3BTXB9PydZ43BjNg0jKIyafqPhotNU3fWW3ROeF/U4B9RNv+jL8X8fMmzutbPEzr7ud7v0JskL/IcYPNk8v5sSyTX1sYFQo7TpD4h6Y6LsQgopPD5Oa/a3OFIhJmD4pbZAwXyFSUzIei/LPrvIEejvRPVkTYBuLTEYHqA3BDVGDfCgAL1k99Jfk7xLJPBqcC8mPge3TRwwEMdzYfdgOF+giqwo85XNTbTGRiDlMG0hNXaiHDScaZPAg3d7gIk2hoZLGeWa2Xdz8HFWuWHfNaHTEFUElZToLx53nk8ZMgU/pS4SQ8OB8E5ocMNnrh0xXLVzew1biiNO9Nse9SwCnPnz/LtBbPdhwD27oTGapLI7QsC0NxlVwwdc0yDYRRQWLwcREU1AJcYC5rimH1SLZ8eTceNWLODsbbwqEiCiYnb3Yjfg2QIUPAAGj5K7h6GTioVdyF5oHmBgwtrDqNEmuIfM2GoSDoywgRWj7CUKsZeLOi1cgbMVP/eqt/L/uIXvZkWGYLO+XIv7htlBmRsyH3SoeNNuEYcXVvqo6r2HC9z33xCcJkmEYMqj/BHeAtYk0YoFAd5N73PLElzl16wdx9IBhgcP2LMIWWmfyQ2wvQoPtOj3OyChntAoRFZqIwsyOkI0bLj5t95lJluE98zoLW/ZisORsRhEgY8P13CeGz9/qckhAKuVjHj2eotHvV3mPZNysznLSkj2/vcjHLEFSN9/NBSzVrAmk07QLL8dEQNTZzu3k6rL3ZyfoKPobvT+ffV1J6CcKhZsjM14VLNqFIFik5tFI1e9xbeKEsqqrXSFuqwcn9QCUA8qiVnc49XNumQKgtDCbvJbTkh+ckiMNDQJPgXZiSNOkeG/4w1jdPg21gG/ZSx/pYM3P/LstUYhQ9qmAteb3nWNOsH/X7NzDsmArUIRgIWYVh/hg5WoPIueBW+/xLrV+SwJAm29o8wkq60JHDJGl9xJoseTScobC4bjXZqCU5kMHYhOKf84VMGkmeQQv5MQVOcUrU7Fzm6kHFSaVMw/lInOhn1b/B/YpHHxibKrlcRdT8y8+ZkPJ/osOPFg5W4XcyvrtZWsXYWBEnWWYDJyTyHDQM6an8joA8IbLlF7lIWxI54jy8EEuf1lbjkQmArac/6NkqXXkjvOS4+RzkPRr/2vS+9mkooxX8/hTgTW5uVto970PnNT4N2VUSQO9iy8w1hStw5Ci6tVeWbeAqzsHImovB/KFJ61XkWLgg94sD7uPBLHleokPtMx5zmDbjIskNJAoyki/t2hkl89avEZUxelO1kKCDWsJDCvf5yURPlDUku8uSL6CtJEVxZEs5gSFTkfED4ij+J9lO7v9ABtI15Rkkkq3dts7VIz7OQ0ztGwXDczYJF27V6UaxDx1E+CyT+iFzcr0aS7mg2RVplRvWipZdSLe06HcBFMknBenv4QytQqILl6+QibYzcjaGdhUVxg6TRbkemQxZ+30cOlaEn1JtOPkDSB/LscAs3ndOXc7O5RjN0ljuYCLtpdiXeO9tzQjdy3rri12QvDhqiILII7Zs4qO1SOuR2qOVJowxIL0xi4suivwm4PHVAZDpzHrYchzKjcrqV+Auula2+ek3fZDYUJHjoKdSY+H7U+9sKS8+JR64P8lFVvNe+7e4H4NduZuTTBbLXBzYoGKBWxym+jxS+D9hWt96DvoXAfPjzOOWk0+Q2SqoaweQwD8el8hZmFH+3Z6N1EHPgzb6oLx0VBg6N1m3ZUa9FK4TwJMZy8lDaeDCpqsgHtN70tNBgIdKHW8hOOc6EOlXdeSe2pVSYWoo1RVaRSPbkdiv8K7597q3gjvZwe9BQ0HFHaqgUvj8f52i2M+Y4h++JI2yFkqh29hLkoBuF+Tuk3XRrRPjh7058JW+DUeUPc6Jhce3l0Q0tIR7Ck4ODZBMt/vFScvRhHPohPbQPkGnoVgJySmKzEk4LBRV/sgQ9urXB9ZpQmHAmvw+VZcI4o33mdaznkHscSa3PWf3Rw3qopd/6o/NBciK88TBQLmxGhzhoGiUc5VcOL5pbKKdag/AFIjQ3GzBGBvr4R0u/+gtNL7sE2/eTwRQK2R4zLWuDIR+1kzc7bJ/avndZTWohs6xgVNgxZ2wmUhG3XieZYDPwylYokqlMZVh9PRZVshVFz8R8g4URM+WTHxCPwJUHn40/sUla0oH3fiMn0USq5PmJ2zG0emgPiqs/WaBRlpxJ/+cdpbe8GqeQ7nUwmTOeyohVCNORT+vnq92oYt5N42MyJLEwkEvD3zyBU5v1BGI/deOw/ncCmHGWG2uoRP1PfBCrFpYiJSUJL1T4D+E5NVLRubMlRBdccKfR2ShQV4H2gl9egbJMi5MEaC/+2ta+R95+AVkty37WMIgli9avCQmn4/ZzNsmDvqaAnZf+B5SRx8Rs13kt2XzNRVAGVc5w552w/N7qbeQJ7IGhIoKtfettJq6gmyEIgsP8BG5p8B0CvzM7o/f6YOQmWp7R/5mluCXU5jYVECBQjxNBHiM72V68v0JoYn2sOqY3lNA2lMGqscdA7kq3f/TZsqmYPPexjCn1eOKoNbbtC8y2vCEmvFnbp2+ws5nWAsQ0UPtaEMOyeUL/5f2EHBvDK4w07gHFis3+ybDz0y2D9x5N64p0TJKqKhA0QwnxKZY0NUD1F04VLqflY7ZhQLbZ8c4V7m8Vh3LXX4WHCWchgaHBggE5RnmHpRqSpdX13fVLICrvsbNiKd39EOlukhPlxdrliV+sU0VilDg7piEexNIRyjJfui6RtEi/mlMqGsz1yvHkpvBaQ2PLE29Bk/wSff6KUAQ7mMZQXvmVvq/UmO093IVbas1Hjk6SvTv9uLHHLDy/wOaQbeI2XC8uYY9nDtBXRxUOrBjyTSo3Jzsa+UxdZw9SfacgFtlSqt8Jb/AVWzjnxigQLbUqCmQ2Y/7vSreVghTJx3uSLrvCw7U+kuwFqwCBsm1ytNrlBn4sy18LNLOZ7B929VgTSADDKhPrMIVneC+66PIUDOzRyEjyU50uXx/1miB95TZYStECQ1BJ+CcZu38ObJyLcxThQnJmmCKaG57tZo2JP2w4k2cSHQ+5/MkZijScvF9cG1z/dJmFLh9bPlK+m100rSyg0CxLT7noeXJoz46iXFSd5jadtHTDtYJB7ccMYV/gSKt0amq7Hbb0R8IDtn4iVpQJ7dgjJKlzVQ5AxKn0S9+yYt0qwdG3Yd8UCMix/Y8RWGpevA3kt7tCU0VZHy1Qajk0MLqyIvwUCjs2yIc6UYCOk49NUCHIoc3s5Df31CTdkWdw4P0tC2Yxau4oBKjrTp9QjQnO2VoKOnwbCxVMf5Y9cBYXkrnm0gIiOYKDKpqEC/GY1mUE86OMpAtuglHfam/u8zA2/KJQO8tL5TAe/hwZKgYO4gOdacs0uweW85WksDBrfBb88qMp8cmkGCRAYxpVwTjwrGSJVSxOvtJRd0WQl6/731Dki3xrXambMk7GrotLsHzUviesz6OhO2rXI4J51lYOxdAGSW0ix0QQ/Wk5oy9oBk5/QeA/Vp/N8IUkOIYrvqxYCt+JYDG8E8Gp+aC2MyLFcXXIz613uH4OEXWnefJMOagbGIfla9a1M4KvyZNuXKo4zsZI9vq1VTKTf4NvEovQo9A9bas6TXuCVlaEeYKvQMQU1Ei6QFnCzS4CkZx0iLRCtReJYoe+fUAuOcxf6OnZQiKIoWmXWM4x5hlgBNHqub6yURVOC7EfU0Ymorfa+5eacFYVjTybQyFZdcDJMKkJz2U5NoKL0KYUf23/MgxQWhPrYE+qxWwYjn1wUtDc9clpuyVhjn2xxGMOsuILbybtvFikT88JYds0JmiB1RYC3Ua0/ZKCA5HnqBxx1hxUAPbXVlYZOxsZoLiQNN00FHNUURVU8oLtPaiVlF+ejTQVr6g+9XKKg2V6vzDs+PnsNa7+Qv1sDRQsNASlc/qHvDfUi8p8eVNEA9NzESxGr6EHYUYf55VPOCyWikNLwqpdK9szztqqet/gkokRNacdbpQYcM5vUe300dKX0KAjBT4tgBO0vR/pfdzaz3gXfZ4rh9YEIfgbtb8RxfKh42Ep0EfDRs3Uaw5CA7c1xdgxJ0ADIs56s0I3DMlJ13TfU41dR7rsDZhVxM5CfQwtzdT8gaELrsSth3RHfCHJaev+HyBPX0xxVr4X0KWdNB4EI1rT8q+2uVx9ktBWaQ2dj6NNFS51qtiwV38LGFfzytbjS3LEUH6b8ATV964gdv9Hz7d083A4UEr+8aCLo1WLZ82fSCpQ/PwLudWAvliJRXyHYzqAbF5u+dxrvJiiZundyG98soc+KQkO6l2WqEZ2bjtg2EqzURs6SwQgwt3e2W4gj3DS3UNzQM3WfgnmE7fCBgfOtSeMV0SusXwycD3b+upLnGeyPQY7drBnscQhA7KL4UqmfZ3Wqa5q7NsNCE2h2eXxffa7W7N56pZc41wAEXvWzX+SodAKfxdFC4zMICs0JfdpSJR4OcLkr49Y3H2/Q5akAJMdWsOykY5nXdNVtxvAJXUrR5Kj2g89tPzdAuFQtHeHGtV2yd8/0IXJgbwfooDsbD/VMFziR8VOW2cOA/0WLbCNaOy41OPnnYTT9TLsETvgbzn4YDUUHRdqjCXc6O2aE0lcUBmLG/9+niA606VqOH+rfeUT1gRDzvhrwBFUZZVIPQHvSPQJVQMbVU3n7PW1XUBVab92d6cfJCkPou125V8Mx5HlsIrwnz2/9IS6MsTAPhxFkWBoKvywcRImiPEnNTXHh+0wiFyI9vA+ogPIvMPb30QyGMdp8gJ4PwOJxoFnUxhu5S8Kboc50b5jZ9zSn+rx7HDDWaq2Y7JnoLZkWkensk13U6zDm+0PGzcbRrcWP9KeH5MRwsbGZVbrbdy8+WCgzpihMnA+BdqTkV9+jo+YYgZrzqF4zQ5SRSdKBttOkFEpy4V+ebrc79CyAL5b+nXgSpDiXUw6FuSlfTtl0PbKTukXvjMC2yQaZ1WoxOhqt+lXbnqEEhF7ywVDFhixilQXZExLufjbm4aWySFDOE956l4BT8xAL0fFqNECKqjlj9x3pqXUPwuk3c/aH13ZTQLaVX+fBtGVNNXuR6+8ulfo5SZlIEVoTZMz10+z7LWleiBQlQ3YTM6XfphuMygXsa6jCg9KVfH8rz2IoRnJlJ7NZAa9Xpq92DCC4XBl/1tdEPUhlGpQtqaCRGM5nG90NAZ8GJ1rZKxmINomODHC873G/PjZ7HC4lcHWdN0osa2M3MCw+upPEqAWnx+9gLolp6insw+EeF+u8Qwc1aLcMzRNnosRlxx072JXZei+TjCX3aEXqSOJO5BjDM+ALpQEESjCL/Xkqo1MIfARa0tDsGLVRJRBW0H6MMebdpJm//C7zSAU0XuPS832PHxvwAapVNJ5oPLDmH7ntkPqHn+VE0UDVl30pi4lT5pWZGKSweGxN/CXyi++pbszxdjxRr2fwFSWRryhGpPchAWPMIDxSlw41Eb/hhNDYBtBzug9d04kes3d1TTU5TLl/2i3/uFl3ZZRtxpXTLbJnZCwuj11Eiotskum8qmufHMLnJQrhIqRZvIcsBvH2dMY5xC8GfCuKhrMEdVQ7zd8wgD1OXPUfv57tAfhzNsry/7kQ3SRhf+XuxQdBYO+wML7Ni2Hy1sFLi0SGBIYtHMafZs06La30ss1VxQu7wBVaV7hXzsNg3QqieuC2/jXsrqIWDu1UzzFjA5IMAyDYHmyrScNTDL7y5wCKn+g+zT0Xu8C6uRK2DisEn5vziYrpWby3wDHfGwfe+V+G6WaA96C9RLDsntpKQm8N2cRsZfreqL//c1+yQPgFN44sZGEexQfpMLUguqgCTP9Na4JUfTN/LMIuUZX4gVjY0Cdau0E7zEGjDzYjxOzQlUzXE1qVtA3Kpw/1SrnrApOtfeWNTEBHFiOzWglLQ9RpB8FYmuNgejy6JPR43EhpBZGpX5ZnQKdnMdx8IIysfqKRA329YWfNQ80F/Qrvlx72mX8ca8TXB5ZVvgKVP1ebeMnA/3hRYJM2lIYlYD+QWYTBGDtQa1iKTqwbZKS3Q1BYUYlpOwlzpO+lmLR/dHVB2VyLjamAZfNSzqIcMKpNUPfn8/lTFP7CvGzzfhLbHq20RmSmYkDy6GDaswAooCclGlCPY/w9I7cM1x1AKmGZIDpvatJe7OsF85KP4dd6E3V3OrLN1t9/kVF6DGvkCAN2fleK/adztIC2Lh6m+dvSaeSydUH0b6dROFk+pS57KL2l3zaBLcqexYG2ledCsD8rQmfMbpgPAQz819tUjqqkVgzBozqT0ElRCzUmGAP1JsnpnQT3uT0Q+ObKEbxwfNjJ0f0z+0wHaRVO+j1NIHS/un61cpxUNAD4sMetm+Tp2aBKOs1fgdiqEY3582uIrStrMMesYeg+ITHKAyXJxLW0w7AfXNfZUDD5ozS+rlhigAwrAzPWt5HmqzEiU90vLog63J0qM4HTyWoUtDMuAdiisVty+YtN6+UXDjukDDiIBOzhwWphURQReySB328Zhz/sY5mvNvXWr2Q2zdKzyKnrbFY09Njci9eIzOWiGbicmFvy10I+FcRupElux/K6E2ONN7CqtqaCNlyrqN/NAwbydWTApIAfvdjehBt8u6EoCLxg0hICBzKSpOLKa1zmHzxZOD1F2h2vho02OSiABZ3rJZ+njQa03AyGTQ86hFZ7awNIp6X+10TGkeANjRqfGlV/cciR9UVjIKHbdXKCdHf5CCEdo92xZLxLFgWy5m0VxEl+X/iislQG6Pg+t0COI/dw9MDqWfeA1lkLHUUyCWGN/w9X7GbDZSJL4WV0ql0IdniSIsjOWVRH9FsP8YrdtjvFUXaFjtW2OBmVUL0Fyuku3ncpkBA+IxS+oCKAo3Yfd/wsOyfuU+B5cUiuIAox5DKTRzadaAcyRVvhqZ0mjkn4kIYix6wHJCv/VpOd/mbYhPneeMrTGvfWMXqby+lniJMdOfevyWjOBuXaDjvwgPPaG/VuGwvYU85iOEjfyar8eTgdI7r/vDb4vwtqT9/fzrinit9LvCi+jgTRiBGy3l0MtR9t4T06DWUopj7gPmxMMCLFO0q4pI3tCcDwRJ3YmgO86uz2njVhgsa/rpqDahbKYBI4WxeyXnXjQiNgiygpxP8qxnKMZ67UepnbTAv3qIgV9Uib0zw5107PPjY9HC0g+3FyAKp/BzbSTbgnr/pfXVpZIdzKlbqIHAegmyoYki6AJLN7mmAs1rb7ySzoAUdCHAY1AMS4SYqJItJgG/yrbQMDhvChurM0YAs7rec/5FwczKn82E6UbKnuRcWmCvu7E2+OkGoJ9mMTva38tJcXjfyHteQB9cstfYDgrgyPappRrJbatG7D3IFJBLgoDMAQPK43B4SldRJMeOalb7OxTADcoqtP+u/o4T06gC+b+yyjgM1P1xWzTZOzQfHmEWQKq1DhINhRCiCIv4zxmxACFTnrzLSJ0d01FT6KgaJCWMDi7y4Zy6vA9kJt2Lqoxs/JL5uvAmKDUHdh3xBh99VnfN0MVywtD/JByvAj8llZnuvcHnYM7nHcS+qG1pNwfKU5Vz0bhKLM0Ak63QsCdPhA/cQbYr5BHI8TdWHiVwb+yoSNx2nCmb4iSDZZLA9o9+Fe+Zwy839jLjpie1wkYfM1iLn80vxPqW4tCpAFE0mjqWz/NgTSNdTueRe1e/BBM19jD3izuNkN8vXbh4JwuSvT/OnBCq4f9KRjuSaM2ZGVXjZ+elSZ0StWH78Qoh8HJ5d8+AbOw/Kev6Xztru9rvmhajN/As9M6SWuO+CMY/vXhmIvNWmebgTtMhccX7Tp/7jHTRjBR+TdtVxIcMZQOmtJZ1TdyfEux0S4DxtPjM86CV9eV2CdBZ1ewRsSzTzKJF2ypFo6isa9wcclRoEhRPUV2fyFC6SkE8ePxnMsRC/QP52xWYGdKlTLV0JYFf69ZIdQTOT/IpZ03O2bzTItAwxc7F6CEIUys8NVaUkeCEf8OELgpi0nKJTSivy2008cstfXllr+RlPL/NoyoWNJjFb/gONFNI6ErlCJDPNyOEHyDH4J1/Pv0T1DTFQyL24LPGXuUJI/93Okszpam0+KfCmkVS8VZ49raSIGXB6Zulc+L4xFGA8xYZmoZIlVMoHF2mAPkRF+p8VDW2nUo8BrLA3uWXbQEs/pWnecIli97WrrgsO93+qVVSbjAkxWP+9iBVflDJWVM+DAsLUOL1rAnVsy5QkhZGdofc0rA6jrEm6EBVvk2KHKXaHPsbsEAT9XroUe1J9fE2527IVAtZdGmrIvcK711qmIwdSFckQkDwbe2jKNSRX6Y3PQZGxWOjClpvbdIDOr3esTvcD9Nf6R860fhKzrE3nB74ROxTwy23d8liLNGk67iW+l5Vpntt0H0SnjRkv8eQnSrGmmo1WflYypUj7CR6qZVwAbX9GDWefoA73FGuRh29XIMrsGkY54utewQGFgeQzwdNsk54gArSVYNzxo1dEcZ/NR8nWap7IO50ScrGkYvQacUV2vGrgcwD+erlOJRtQ7AIcA81uSXObcvzE9AuND6fto5oNrE0m9KfKnmEpYAdhmN7PO8uDiyLWmeqnZLHQHarM0GgIQmejL4Gj0Mrz8hoflTzCBoaotwKw7F8Xy5pqOxoJp4mfP6b0eZm4n+T2vj3U6szaxX0eXVEHAp0tOG3MH8HFBXr9/ZVvwpP39XGdRGEkvmcEyFQjKsbmTJyih+fYcSFwQhFrFGsJAOI7MGYOTLaIGJT91pSHbfwVHa4kbq22Y/tMQsCX04AVCEC66pzlnjKRj7MVoG/Weshfsh/hNU386eOjIPy2aRtolibXeUQC8uzqaMtC+KgG8dApmkedg2dxugVvLTkKmENgEjJl0YARSGwOtyWtiJx4OB2HVTRSdgT9GHK/pgMrkWYwF1fSaTsyg0UZs2iFKOriqs81nMffcMhYU/3oNXGOL6q/UuD1g5nHQZza1U3Iw+7d58otyCMhKCgaa3kSMzBsYmenklsAbetkF6WDyiUSMJ5kKFDSZ9djqhhWauZ2q/tSLE4nfYOAcamJhhQAyXO5xP6zm+bn/lp2/pG5HpxB3im+9eIDSERK0nYoDzvCYLNoGtwa5XA+OldGo0tQ6FuCh//O3fW98Kn0txch+6UGcPs5QfLviyk6w8DtXU1NK6hZETtOcxiiPaR42IEheLmTQOQopP44UqiVqf4geF21SUM0CasDExSRcygSdQVXrWnBSqYPNChkTE7itJOrauDiYOWdkhjam+/9AztgTW+32/69PBB5c+3fFk+COE0seH7rJ1oycOGiJXes5fsKGuRrx5BqWaGVv2Ll7AtPTTzdPa8EV5OAPPV2cZIUAagqjMsqzywrVRsv4c8m6cOms1XNBBdl2W6WdbNfjypHK8/ikNDpL9XKtj/4Q1MWdH56k1biB8PFGT3Bg7Z3S8cDwdduDXblq42vUYCaCTWFe88ZBmnYEvdEpJSg+XrXnJvIDhiKe1HoKLN53QnIPR3tZ2BSWvvmGiLQpwHlYcygglTQui9g+sDYfxcX/MW1bHH3p+PMjpJ3VNeZ/2xSdfbFJdw5QQjCikHioOzGpdePBEFK7e2bznBXIz5tXCdXnlWZrtY+3DnezxzXxSuR8QUC7v4W6XWRv+QTFPRlTg8kGdfnd4SdSu2dAH4nC+zC0w2fOCuYTrb0GSHYnwnls/vgXFw1HiFuR4sTEV5QjOqZ65FRlFyIYTkMjDOHzD9wOJQWMb50/QblFG4Vo3N7R8T4eJrj1teb8sEgKEOI/d591sKh66c/my8F85YBQg7eCHyLo4UjM29TgQFLJo12/tpdhl+yRbDyp8eSuMAm5MRszNVaKYZ6akhOhQ/ltTHHPSPwutB/AIVU5safd4g+3xcjP4kDNQxNEHXd7If8MYfhHXcxmaSytkNx7afsmotCePK5LIJgbsFaoMwi/xfIb25Oifm0o+K7y1hgzy+2tumbxN3bVPgW/zi3FKt38AVOUoDpP+jEYPI1b8sPPLrIpIJIjsniloQx/fngx1HUS8uDkO3lZlkfUMxOkskrgMN33J7Q2oCA5xp8+/iQizCFzNxPU+i5c+IRUGUHpM3vjDl6F9SjB45tir/WzrsM1gALKqZFJsbgx2guxmQdJ4GiftFO44Jh2CBw0upLwpnRJW4wzsAi4m3kDWDLy2Yp6tVuiKHtrnby9QBh7CfDp8DvYwZPFngjTKtVbT2P0VxXlJ8ouRSi046z5ThJixHCa5Y8y8AXDDJ9uUTYVxOsFTgwlm5IL68Ld4+S4I87Kl2m312pVZxZ6mTqEIfMwsfNJBQCf5kcsxwblnDbNNh8oFQjrIme4PIAzDYfH+fzbesdzDS4lW2Marr1/m0f2BJevjRCofynCpk+5EiVZUNilhMNqNlInhQu8/tMMY7I1XizontDO4PwIau7RNYmU8EzHeayppivxXXuaTha/5aduVUzs++WpGforPDRoJ6ZwtwP2wQFP82zH/fdn67cWzoYUI2nkbn5RVmP4L9hy3QEwyXYYSj2kvf50HgttXp6tco/4u3Fia4EHNgls9aWKt9wOQpsJ1t8IEDFZawqjRjooA63qPsRVdfxlijXWgkEZoxkEOlSzQzg4/Xp8e7YPV8pmGQcaNDg5g6rTjYzL8RnNhR0rK90wVU2Z/yVxjQ9wr4YXvlJv2ZkTNs7V5IP3OoNS0HrLmQsOM3uV66MM2fzsAQxrQdeHHZnn1gGuq5IvLKR+3glhhPIDUr/II0YUu7GTeH0hQ3gbat8bN37L8vuNcJBCDEBQn0qc9ZJeioZWCFGxzUkoNhE3xUQ495BrCRCCanfKiESvd9bCi7DssSwvbNAK/rVnymQKE2txKttAMRAk1+Meq+LjkXGP1meR/yIOS1OU3jHWG2C59jNX2cj8gbOJPdQS4Fsa8Q2KbX7fsupTKJYSBSE6Qnn3DeDhjs1y5jgqyqDzQTPQ2gjn4o8g5Z67ercvRcSrL1lXZw0+SH2YPfQ4BLNru7nmRrzW9MjDsUW9D3fZAgkLpWQUij7h6l06RY4uvRgV7W8KDV/Pd1cNiQ+NvZ9gEjxxMir9Yh0MYE0EuVZbezfzdFkF/fC6JUA5iaiBF1kS+fVYsHefWQ0JJPN7emXwcieFKNruB8YW8FK3uQuv2T1A2+yQD/sAl0vTaaFKWqHHGJkft0M+E+mDMcnDw9gbEnOFkkGMklGgMh0EU3no6hDkxv2+foZzl1weD55M0kY2oSjTUqAiKZ8jOQUNh0Y8+pfaCWs/5srjwBwainTXxWuMNBd2/8n9hOHvziOUsbtc6LamdTZlTRo4WJzVxGBTGny1Q/guSleqHa+8tJW0O5B5wQgxeqW6heJzs3sa4W94BO7AE87HqODe3uCNktJZSXddNU5HvIg7tQzcNaYGF5jRT37MuMBuJJFTjwKG0AeKVn88kvWRcyjwPF0TLrW9JcuxJB+6WFIlwr81bh9eKHYFikOxAEHwkZwyh24p6VUpElIoMhLZqOC3TWFrOCEQVjrqLCeDDCNGElMbwM4nKcdXqVu+T+UizzWmixVDwoa40ajPNb8eDby/zKAMrqehjbJcy/sZ/PgnyHq1hTlSz5hB4WMMVUBmM/IC5Ks3TCw1dqsDD2NooYVtyq7jsoR06WofFrSkhYzG5+Ljx73fv8yCVd0wLqXYMRgZqTURVobjjxLe6RecFlwIhhgQ6OuhkAP9YfapoYiWZR9oIwXEGogXM81dLpn2Sy7I556MzusXGrtInCBWK9pU4wH6mk0FUu34DRxSJaeOm086uMp6suNOU5p7JSyaZSnhKemp6fxPH1i1TPNERMFDW9T3VarzmHyIcFunoS0bjuFILYgA2FBucinIATcHN2Xe2H2rNnTehZ8IgVkwJ0QG2TtVWOWoLvHVS63G/ysrDg4Sow75Evy3fZDEZwUVLa6a9E5FvFDy2NGsCaPSFvi2/n6dH1X0p+iu1pmF55febxQvFpcOXLMfI8CH8Lf8XwwkpQ2qagin8dGON+YxHnTMM6xlkOQo6LQ0a9qXPoZ/svC12j5bYaJp85Jmsu3cpal46qyVlkpT1ZFKnY2gHqSpoWmW3bsArO03PeOwxnrTCpjcSTrjP6YyjZrWo1VKX7Y9fEIS6ojF7q3mZ3xVJZWxlThWpl+wxyjk9FNFzZGt2ouzVgcurTQ3YWjNJVfmxVN6ESUBSxIV8g9MqogJDGwN4zrrQSnoLVIImOxfdVpr/7wawAXMNDbBCN7ffp8fUZlyUTiQFoQjTvb3CwvngqrHj2iduSlAcz6mM3sM5wsA1oH7+KaXH8JIdN/WbKyAUjR+ftXjVky9+azDk92/Ebv8QOrUfswMGTqkwUZtvc2/7Erp5jLtwK52Uz+07YtAAScPrAExP0a/GnaHmlbbL31URaaX48b+OeCEKHfO5lRCT3JuNX9nZSRMfT+K00XGiNFIUY0km5YngSB17Mokowoh23UaItPfN8tQcadIq6FHvPN2xVkkTCtFlorH1YYaHPV9KgcxjW4oJsCNApvK4VD3EjT3kQomu0cYAeA2uX6qPMOHNjV1ezNJfXZgj9MhTtAoP5fNCsoYySU5NX51/44aNNOMyPjfg05LHtrtcRFuq+p4SqadYpGP+U2LjLfU38ZeQNjFknehe7vS3Q2JNmGJO+3yIx9Jk6b9Ax4tnlviGrB4eto4G5LQ3yoYQ35p/bLUFG/5kjtqIVRCwPk8pg7ItdrEl0vBATpawf9AxUe4tjespYpE9OUxgSBGAmjO7gxhYEHx4NUfenMtXPGPKVeOajxQedxMLuyfMHR8uNvQAML3adSXr+Q0967RU4HDM/FbgnOwCVfAX7MSy2FKSuCo/b89+PJfmowhzAQ6xdI/E0CxWiSVG02h3+KLcN2XIruIxQPUx/q3XvyUOpfYEaxuUmbiYrMyM4ZmR/vekRns8uvumMGyYq8JpTkgYrJCHwxUns1k78UdEmyHOQBLaHUJ5LIg0VNDV1xfKmW3vk2/75Q9GbPdxVidG4rPd9N4ljg4DkWmSaDN/0KtcFCnOzOF8FF/xTNDLLFgtnBCz0/rjDOktc3gcRMYDCKIWdDR0zNlVAgs8M2qkIGpXd8VKnadK7Y5a2AQCIfEwY2HA51KiIbpsDOuIxt9JYc0TMqbCS1ngwdOCplDSYVlDustWiEX5cpwlqWO72qq/FINnF5dQu828ue2l3a9XpcqnCqks9YT6uqKLWsSWaKsMEs2ZpJO7jc8CeduvFcCQhg6Zwxe00lwfUNbGt+jyO2rrr7ALTV80/pYvmWGXHlj2am1cRy3Zingxx/RwJ2m7XGrwhI4IkVcBFlCJ7h3fhq19Fx8fwamDuzVr2Pt9GWKx2DLE2E1wfgvjFaI6MIoiDj9FLS7ePOmW4K1AX1rV+ykygZP9uNfmnoScTbnyLMpaokLu4QUZ9kZ1Wyh1k06c1AewczPlwL4eWlqtDJIVfCA5QFoy0MEskFX0zAnJx7TPjjBYR0VMqdaC0nXlZvFyokda2floQMcx39WJW3DPtPZtUxrxNg1JRahR/it66XhfrT3Fyq4SwEuODlctWFSyMSN1F2xa1WI9vAhUxejmYfHCZIK2x0nQ8uyqOvggWvJ93Ob7bf11P1kUZnJPsxGgOYNPwlswrfJUft/CwiNcoDCMZd+6ETyGvqBo8qig6cEFDGhg1np1w4SS6wwRKOlCcuSMeqG19N2NInzW1YgoMSJ1viMVUMqs29pORhv9pgzYDAujatmWTHseN3TwGU2QTpmSCdwZuZbPJSLG2Y/FoWrStdxNlMsoode3C90PZsdX3M7sylZJc/IwgiBhj4tibZPFzFGDCA31V9pD1jZMxCNrACVnlX2c6NV2AvH7C5+V8ef8GjBXyWbKFNiDgXLHyuntCeu0q+CAXDRCPaLVTHJQUstv+nTH5os7Z1U2m9ZkaiO0cocH0p03nQhfiuVk/70GYVBVxaLUb/vS2xZrwcXEdFAtt5CkgbybAj+b+wIo3e3q6MQvslOEpXEIow+TjsjwWT6NHW3A8poRfb9nPd3LddmgaseJHk9vOmjIraP+MaeLYcyO5ji2hEW375tnWIocKGlejPggfi3uf+/YbbwzUf1r3Vj9hA5tKmIRaCpFdypjVqiGSxHvWsxLIRg6C5NVgwgLvt6v/sXx8aIVvNtL048mZPEhmtZ+DpU3cUsSdRhkyyfFpf9nMfXJg1MRPcpPPDoyttZHyNFANpOkDciAJnO0AxY++Xjf8LVkwILtXbDqefjnhn3gbMSnVGVNIqeJ4+Wp4v6RDtoR6N9OvsfJah6/klJfvoQWnvRufc6PxpQV7tfl9tBw2x/aw/wXqYU92s9f2+XnKvaQlbhwHAwCKTCq5DurLEuYV1viVHwpknMpMUO0NevMbrWStLTYJaDrC2wLnXHOx8/Ns//yCCGatCOnG1Sa0SdQ++jEMTrKPUxmP22R6VLejCL1mdtbY/duYzq8CbYtDK1qqvg8aRIfRymksDSunC7ENItU2OI4YbX9yp//U3zOnPHAtw/AGGhRGaf/rwUwVmK5+Uvceg1uDNekflCZvtL78q18rq7KYdLXH59fmnsORmg/8KvkQAYeF7R066qluhisHO01qIU+nl22iSScazL8KXsSZto9vr7O3niEnHMkn/ehWwEALYEA+0Et3StBqeuP/kODg2m1/Xic77or57hkjYR76CkYEvgaJWBZTHxY4uH4YXoscZQjCC4b9Yn4lltfcHcwNpR7AeJVNYdN9yDH6Ul0SUbgIVSnyKbfWNUuth+cA/hoTYOZRxS1R/ne8bFrRtIz/zAQ7ga9rOxftiOSuT6McWSjQuAq39gsQoYtlv0wlZIqjHrQxh9SEhlGgZC3QpkUNsdpxS8FYtQwBL7JLBvpkKWGkDfCSwsxHTyzCWy073F1nMMTpTowuhqNS0LCoEY9QdrUINMIAJPPN6NPvPjlv9FPVoNrDJE6vUWIA0UAzXIPnjJ7uRpvWu4afVHU6mX/hq9GrlATL+BgLH7nK2p/J+LT1YsyGL0YyBc/emAm1Jy5YgWGFFtxZFYjr3vmaqs9LSlnYZjP6vTUpsw02oTVD+bbl5NR86Eo3CJChINVTHTexpbKQC9PxVwGbaYmoRRxnIbpKWppg5IOyL11TsLDI84AqpP/DaSRb9J32MImId7HVx+xICP0SAkreHIlDvwETXw+rAiIxdeKQd9GNF8TWfXGx0MGr+j2ySlfIlLxp8kU4bmWkTC9fjdb1IwrkuAcLIl0UfVLRb6hvcnGQyYqI2/TpOCrP3gfTt8gehhQyv2piVJw2yosuGT9RX7rkN+hj/fdjSm1ecFreqSvvgsPmymIKSvWsWFYCFjBixAwC40QxD45E/M4PRQqLVlwURnibKJeQv+4YOE/c8VnIutRcBZUklg/p6aUhpqtkEFLCiH7FEvS8jbBsO+miIk5JKfJ1SFUu4bdmBeKuA3WbZ+HTccdP5J/swHNnRRE1DuGiO33AZJkvDloR2l8zKVBkVaZQGGixkeIt0HsCrTwuebE/amHLkbEEEvzAqVG1y894KyBHYjb0jxPjD+xZZuxSh+4N11qrXfBdXjYwPDAXge0aC+lq4H7XfZEiipmnuLHhmexmPqClGMttASWHJ8xS9ebTZce9zLCynI4ZGMCvGHQPqxjFVSZlaukBMl9IhqffCeCOUPSeM+QFdGdraDx9wFHHNwoxC5+jJZ82t514umDmmsKjjd6JPR4UkATO843MKZzLkwlfAzIbAqVh7oRwQTpyswwDBJ0qJz3o+5bfXqnzezeddrhttHqrRDwu2rDykAVA/6MB9VJ4oY0GCIBG0wdJxX7g71Y1q8d99QhAID1eGWaG45jgxmPLJmwFhr/MQ/HGdx7Llc2DCfcBxjDKdt2jjn2hBkpigbtusAaa1NOu0l1PTkKfUzFKs0FMZnDrousgWnIBc+5KxMqpcAv5hJrAtRUF5iXPPp9hgRdqoD6vx2mWTqGf81qZ7MweedxSIRnnejL5iMeO0MIrDegzarCDkzx+BFmjtIJQ1/5bnvIM/B7YTt9qKXmuBeg8Ee731Vwn1zrVzBovKB713oiO4tpIBke84Fgp7M0WZaxzG/JX+4Rc1ZeD5lGF1qu47ua/GYHNPRYUDlzHb+a/Im2ocnici8O6UYw29VLjHv8vmK0YWNPN8swvIZ2MoTRkI6O8MInH9DmU1Hbdn0FaWSbNBfLwlcyiYP1K8PsZ6+LHJu8dTXBPlpX5zdOyBrjJkinyrkm2pyOG5neOuO24X/0jAq2FZ/tXdLcSHBjfr5t0aE3HmPXDeTs5oYSLrskq11azABKfOygWEqyLn4Q8WXWOWKLUI93WW11cCLZvxPqHUwPeklbfj6wJs03vMCpgMGeOU367N955UOyJxtvKsKfJQhaswiBBDuCTbK+YDJBs4V20tVMIWlBvMEb2pryKR+N3HFyuXoZttMMuNAMsPaIpaKn2ULnCLgfAIs/lngLWQV4mWYxwjQ3FAPA9QKe41fPTBXCkKvFJ9BRDHCwJ+QdR87NVMhMXk+gnROcTzPTf4ZfCcMx8Y3xLZebdgv2IZ7XMlTKiOaJmawuT/VUPy1Qh9wjIdVKGkEyG4dgnzSQhc0GeezpX90LqrugwTlOZLy37t8kYNrik/xjPraPfQAmLEtpx1cbneJOLl3FgLQds5isogZLEVGG66Z2FubDqGgIMBS5BIb0eOwbeHLnNAYGheoxnBmmHlFqNail499M4FeURV897cGs53EGshiOK12gCn5AWS/PY5kCvcfW4tldifLJQnA0Os4UCDYDRJfHUNFoc5P16lHSMLaC/t67Pi7p0kSGuB8527DDNF3/x1kHWWpnYz8V1CE+9KQKbEsUgWBZUzQP2vA9l/eZMrC32GCxZrzPzd//zA7woX5TNbZ8F7bjMcOOXWQu3oTdKe9soAgC4n6YePrRfdMR4oUvpyT9dNbzJ5HUnIGUDJIGQCW+gTuut2uGYRQqWb/8V9erQQ2JOwqWYbQsY9CMLZBGdSbvQe5zHyllaYB/4igI23eBPUfTcUArP+rodB9saNcIREq8yH4BNeaS+mIIIhPxJo1rFkE7llsPCQOuRbBplI9t/stb4g/QvtUFpcgMWzbGt15IPTyTKvKCaavXqLTuORWQlcGaNFoMQy/BhpVh5oWY1EjbkSYpE0ZTbF7MM3fbzhJEmWAyasgtuvGM3iIEHTQRKbIEofIX2vmg559TyS+AgPrhwbewTOyhhtUNBQwdMN2AZGSx3vhbbHiXlOmOz9ET1sy97acYFgdtyGg2reBAAGoN46GCx61NcuLQccVjEXmxyd7Svx8eDkxidJskM0gDjdaw3ZExW7CoQDT35q1digRuIbTxe0W9JfdIYC5RX+6o7lWB5RWAMUcmCbf95XGntzgeHaWehIgamyovhSyb5aUHWOcDqzTC+/vE1699mpLn2alzmEbc4bJ3IzWkn+kNrfsC98YxxtjUzwfY4i8oTB/THD/qDUMHHfxOIRAkVfnpLAKHnITAeo3wRhlqkiiokCskqAr2tnHlL4/vkzwEJ2LiELBYSx9Xr+G8eMGm4zjeZSk8cCpjwd1F5OA+kdLxUUAup+9fOu/AU954+tuh3CFx8GjLa5FTmpMjcSimXMI9i2VAA/Y01CMnhFuXIkUu1uLxTMzmR+WJHmEbWXWiecbZK2Abv5dH8090nm0FUGmOi95zi66a4ICVDmXhBH8oO8YABYbWQfCbb/+q/5kvW3kZPzy+wYzWf6hPoZOcXrXOZK890N60mCJJnhjcqVEQROifW/c0OuGvNEk7Fl/PCHwtFps8EsPlSrinqb94v1DNOJKXtI34yQ/7E6RIoM6pCcJT7k+owlar32wjFy7dWBPMsEhvdNNczTnj4oqAmJBaoucjOuyuvLXApQAYk2Zf8qJa7hY1qhwgbm1dDWQ3NTH5OoHam2O0tFI6SHOwUBksrLzUeYlx0TYGVlGY4bSB2Ufa0tXmiZP5Fg7jBQVCCASJdJIMAA5KHwAXoNVubu/BpA4f6GF0eKAdTizcgSLDiqY5ERqhMzjDFv/FW2bsJC3V44wn7fIhusPYvqrogsLTCwIy6ky53wxuin6eFQoX3fr5JM63bBZ2o3J4XKXn/8PCwUlaml9S8De7SbFIflj1d6So/Af3Z7LGfhj1mvUk7Yl5ktgb8fjO8rMjcyHMELcPvsmUMo4y3kFGkQCCbtVBiRScuE4QJwiMqGaW+mHiu+isa1mRsMLANgS4ty8qndcbdnM5zzg5v+gUg18+utKNpt4MPa0OOEDzRxowIu+DuqBPy7lkVMLB6ANxBMgtRx4wBAJvJhljoZJrMWNEQ6Cr41PfUNQ8nVJxZBoRcXdNwL9EaWjzeiYS7yY0QqdFWHPfUL1qt/qVSope4nN+CLK9ysX64oCw6Ce9MYgjx/glEabnUKBJZietHIIqRo4N91DJ1t00J06iX02abCGiARQDQ3CdB0HN13WbVEKVx+Dl39/bNu75FvDNZvucgCsthFhcG0uDtvHCsOz7Y3hYFIPP57WoOCVDNJcmxtz+Ng65zPH9AkrrclFy6FgKlsKvjZDXxPbeSQPEb1R8NM6xe6uyyzvyI8p+sjbyqyL8RcLie3saxT3MrmeBXqnOsUX8zb54Ypbikya+3jghjmr/ySRXOSAyoS/LitcgSq2zU9fwFRM7YHXfTFC6Ylh1BQ4C8T6tpxg/e9EItDmiQdXxKa6aLlUyPJD7xWSlUDnmRYIaDs4btsTWDenpJpyr38oMoNUgsC49N9shfZNUYB/oZjbiYSZTBmAopruTzWJzEMc0gUbj4zOaGoy5g6AlMVrkMt/UronJK4YwQ1Fdj6EhHgvpwUYyR738xK2E2HllYAvkkBjhgCK9fLKqMJnvViHX5f5seVVV4jwCUnfe5ZRkE3943+LJdEfq6DKFeudPi1/HYBB1TIROnlzqXQRKDTxGBM+FJL6w3nMaqznj/VohnyfEXbhdyBwnWfx53HVy6FJlUuoZkiMXTDBsHo9NNT3yIMPOu58OC8DxSPZySpH+xlyHv8Qs2yc1zanEWuRTmDd3XNJThunWS2y7toiyCCeTUPxrllt1UWGGXGN8dLydER3eycw62Sv/5I9iG7SfiL1kXRi/D7iCqQ8vMttAdh9x2g/26ueG/OlpWG/TcCJxhYenD50ZzOYNxakR1Mf8KHab19RxnXlM4QlYTFTZx7Y3tGvp+oC6ZQFOgiMz+ECiFgk+DHsVFBHboeijk5LpOy1LW2ps73M8elkaJ1g0QwhVY3h9axFSPtn1T8oivIUA2EenEBFMOgxeI/YudxoWg+ED70/oodo92Et9WgOLTrqSFRMhD7U5mYwawuDXblW1Q9OP8Yn0lD5o6JWv8dTil2iAIGEIizdEXrL1utyJ/K/W4B/8gvqvJIlYbVPjFigTIkTKvDRKvNcl4mpLDEysg9y51KL1YqE0rzc2Bru4hGnjFxqG0cWLsA8QlsE2WhHBhBb/zpvmwnWxwk0Q162HdE80GrGGQSFrsErw0E+LNLkw8PBqtiG2pYECSJxem+A27bmoXwGym7yuPw1ytt9W44mDhUd98i0bbuB3r6xd6S4Brp4/pgvc9hy8HX1UTsMPq8WtSfId0cKNPpeHFqX7mkERPpIAOunzb10hQVs7hosOsWczkyqgZ+X6oeh06rK4TMXSxjvsZlQc3qF/SrTsYVp2hUovh8wib9i2lZjJ5Xwvjz3oscnp7RVy7XRk8rtjg9TQt71+bP23mKVCdPshKFYi0H9Gq4XD0TNG3rw5nX++4gBjIiA0kQSCCbpv4LxZWgJxErl+R+lBkJO8A1UJQRN/yv9893iLCbbvoYpy80qJxC8mzHEmTbUtSdb6FOo68AuRML3ikPzLlPH66NtbTe5MXtTFQHsaqeiSg8dLb79l4lkcIdiS/9z6FSajakjrdxeXFg9JOATleklWC8DWhUPzXvdVs6eKSovZqU9yiXVhPveGCG7ELlNqUZN/EC2jbaRMTKAXj+RUU2bJO48o1e0Vhfv+jh41k0zgJjX3ML07T0ILioQ49BJ9xtfPZId5y3hzxpRmqDMv/JE7WovJ8bJXCusflfI995JdLYLTLmaGD2Lyf8VwI+gdM11U0ksIFjMZ4m1CENr/3qiS0SAkhzz7tLIRcogERU3sN1pYuvNVuA4+VpDAlrk1c8uvUU5/Nwj6o5i/HjUkVRXSCrQulO/dDPWAIML2SwKRQmzInlwqpzbWpOvYejwWykPBXqpjIK+D2W7Z34FVYC51bq24msr3ha8dfIp29ZGc/cxOUrgwwtdAQH06QJh3syHMXXmRrbOgOl6afLzgiQiH5Pme0PyWnG2NOYniKeZR+cbUSZwsFHYAcQqD835AjEvh0koqN2wMMgXO+YOgtRulNy4uCCZbtdkfEZiX9rVBEfQNsviaLCXD/mh2meHIllcextWBwinyiebaZFhfPvyfOd63iu5+PdeASqR1UdAhcTxyOIg8mxUQSS2K5+cBHMScg2zwiqQOmMf4IEttqeX8t+4+S8l96PhfQbOi8kK9ZLzssK8U2xRnld6sBo7Q7hetBqCS4gkSRBRGkiSMPlGjHJujSMFDa8aB7T+tH+DnjVuZrAFAcBqybIdZ+kLfr8jhDpOxxdPwwW8BK/fX90BDsH31Se3U3FOhC8AkkAjtkeNGYszmb9nOsZfJpA0GDMQntUekLlN7YRoT1tUl1boPWIIAy9Qg/m5K5IWpEzKlqmGe8WAtVBqVaP7eDymvHcuQcFRC1awt3QKw7+7/wQHBoKwBC0EfJnchu92psybXIU1jSyQIVLaBJj8jEw3tfBeJeIdTdc/Dv22F0pJKyLkOq+24v+gIOxISpX4n2ZzulkFz9fPVoX0lQnS5/gsrmG1KIuzEuWbyUNCfksXdAQ+BzecFAb1uH1kb15elt07kU3UY1Cd3/WdzseEgJCi0nH+/994hqxmv7OghBM6qSMEvofzk1wJxAcAN8rtT6TatIYkDMg8rozISiqGed6sIvtsMx4JK/gTYZvA5j6hVOA+xiiq4RY94VOjGGd5RGDoES3YdGRJFLlXq5806HUiK2FwtlShQtpGuRuPnYYjZZ9UWzGVTeAewrLRbR3NeMr9HarNX6hJBSdXSWzb6LI78BQ/58abuPNudFDiz0EeONRiZjPbaovHD2m2sch3fVekgPU4hwD4d/5wWPmGAkRIAU6yosW9rxcSXsVmk6VRcJTAoZB1Qe6aGP2yHsIvrbtVMeq2dUL0Vm4UVMnN1s8KbZVXakzKGjhD/YX42fnnum6E/+02SLKeUe/K7cb4vYsipxoFWZdzK7+GJIAhAPj0S2SV2qAqW4bpp1+uavVI+XC0SITU9gpKTK4XBC4QwParbRALVPc8raHVTXng7LLMV8PzxbPHJa5PK6aGipF9w8feoF6hxh8muUUxzpOwbJjLDcm6NzAM4cXgz9NwyZjgzdbTW4Rbxe8g0GfK6Z/6L4SxzGISF/lm8X3NCoa11IsWu9yd3mq2cH9PfUIDhG8y9SkC3pGeEDJeYnBdfUVvp16G27OYNqgt65Ka6dePFcBAilHgqKl8dKRIPRshUsMOOKvcAdt/+Gsbld8ItQeoi4eEkX8Oe1ff9bYv4MkMRVIZbUm4boVbaB6nHEd5FHyN3X39Zbz8de8Nxgixm7TJckSi58Irw7whkYlpS3V+cYNl4C7NzgqiFOl/DkumTCnsIdiRkmThbVUTNVUF/rpWA1l4LEetPal2q46EjJCWGDG3FTBBZsJedude8tgVNBGd4k+YTLXCGf9V9NpOrC1+4wKc8Zl34OkrtIO/R0A8NhI+JHWuGKwKwQ3G2TkMqaggTLefilgUkXSXnUevIMgsu5Hpl+Gsf0Go2yaD248IA8dpissQ1raS+P/PpNkIqVepho4LwwGwV7jCbPuJe/nQI1Kf79sEs57Wmfcb95Luu/AhviJVEQnZ5r48EPycaYJRqWFwEvcenGW8Fw/C+XcGKn0qri9kbZqutVMx5Zf7r2ah18N+9uQaYmxrOIiH3R75HqNP7slOq8vzOuIAl6iZtd8F1ak+jt8dfmhzteaF1z1POa6pl0zb64KiQQFCBLo/PaorepGd2mhSdzXsiJAJxT5IcC6V6hsaqKHbe0I2Rz6jcxdZOt8sPgenfEukXKm7KoXgC6ZVawNQYdULSmR0u7iJjewHmF9FOcsx+QeYszTSGBREuf8M8BbCgFh4UskrLAqChdBjXW27sq5fsDGebN79NbwNWkkMsS0X85fcLSlMKyqDFtcpqNEicSQO+t9Ij7lCRFJ/N6Pf3vJtDoGJPRZcE66LqglQEvkvAgZ4ZXodi/LAmQK+2j2yX9+hNiuVVpgeFh6yHglS3w2edJ6IKIi+SZzu4ANKeEjTgNYwJzlmqhl1L7aVXtRyVs/8XdpJuiqcKHciMS5w6VYnmb3W360EfruiES0aewiP93gZ57y3GaHEjV+KCC0mVrWI6ROQcoOpeC4myNBFfLNSoMs4A7045rZ4LukTfaDcKJQUSDr5a1lcc7Jksr1ax1lpWtPg72TFJkD6abxdt5IccdeoBPaqwdjE3TBlL4iioI43ATNJSCTQeSSVJ1a4Oqr2lejN7QaSAaKfULbFh2vCB0u8Uzt7Hhksy9HJcm53KOM49lXlET+cwWgcGjEsET7i2u2AdnVTi8kxxD6a0x34joDA+ZzYqb/kLhYWlbWi+IdS8BTi+yeR+YtCES4UQxOamxcOtYCnhzCFdr3aj13u50eNJ31DuwUO2LhDtaaFwxBMsjEddCgHRMTIYA8cB2w5Jppo+3cO3ufZ9zxijf5hXyvpGB/Jwb3ryIUlfaswWfLqRprEr0f4Y7swxnwwylvXWvCq/yD3u0ivii7t/k0CCzoTZxjOYVGdfIYAmflZFFHiz7ixRgOs6U5acBsrcxHdg2oigH5ckc/J/8EufTKetgCNO+kknGrOQjrcecCojXhGcVAn68c8tYXh4ivffVaJWmCVtDYXe3Z+BgisjLfuQZyFh2vFuhcr6FK1IaRLBi7yyTLFkGTSnIomanqB9W/CQkeM5YyWfouVoWpup2e4SWsZhW1DZ9rEGZFa16Nhlny08b9FO8Ob8CE7ynooOXIPx/B5MEOGjfSKJgPuplqbhLZM5rYdVEaDPGOa0zqT/Aq8tD6Nscv0gk6doWtvHCciTkCYvqQyhcdA6WmEcO5x/DOO7aqhjINrs3cnQ0L3AH5ZTgmv286FdM68bMOo1+TVGZTSL+AjUBrjAwT6m8WkqT5GVKmltRWtcZ7lQmZLmF4umsaqKDYmpe1uueQ1zBJo95zumIjpd5LX6TS4cGN5ccr0bxOEG2MvbTnnFeZO9TKqFm7DuY/YlPfsQ4FXGa2nUmqjK3fTs16JICeiQVk3SU/iRkkxZaSGFZHjos+HJ51Vww/HBXOxDiss4eOts8QS45fE2SlKznuJySZKVB+Yi8+xhfLhBxEKQ1Wt8K/hkI3EAEDm2s6Ssy4W8oY32zHccgYLjokicZI+UfXmrcm9W3507dRXGRefz1D4gEpR5KOobRCAYQivYzfUpQF/I2s3z1rKVBS0op8uXRiyIIa3Kr5MKZAa0OMXqxIunpflsPW9jeg59bfy9OnwOnIY15+3/ozxztLQEj3tPNOFx13Akl2Xhza3t6ERIdQhWA2wHH2ToJmUqvpGYvRyTi9Y3C8nxubqnpfcCa3o7luKf63W9qUHVBNrHsTMFupVT6zUK9/agOOuf99fNBQZWiNaAVjCBLFk2TyPaUaE8ZG/vRFY51f0otlk+3ltHBMhtczNdIFFihL5WATh3vPFX3Ap4QF/TEj3AqoS2LfPtAqCaqOdiIFzmtLnOxBYGr1D2pP8/7Haq0cnWPdCVD+8DPXPBmr9suD+zcb7jLDfLg/2VgdrMktAHr8crCE0judivYSYok0GCIcKBshISraFyZQkqCY8btaM81LNweu38SdsFEXKvyxrB0SLC4Ti7T2pZyn1c2P7NXbwNA1TyxSu02zJF5FyXEnxCSvPCq+rxZThgBkUwfxkfYi4VDguECdow/0gGY9qJD+b+sKsBtRlaBhmSvbv8tFyoovZxer0zOx5BIZ7Ss54Li8TTxxfd+uoKChW/W6Gprs1wyPWDE6GIVpeM6yu4S302gxeZf1ks0q/b2P4XrEuG1kOK3saORzPpThcwIdFr5M29YENCiXiiykFwMvvwBDpdM01XL1qbYLztl+2ha1r1k2TnkX4xTvaD12Ol8Uf+sLsFxnBhu0vJNqgpdHYPhVTneas2n4PUoLCR3Aar7CjNis88+J7PS38gqNUq5afHyWUO9Sfjr3utx0ezODRbpWPbh4+TReQoUaUoyExdmLclggaWDylGAdfQ3/VWMMaO4N1601F1YBPEWcDQPbibrGMjfQWY4+0CzKz1rufwMmduxQcGKkndWHbD9uVSq29MOHHTSMDEyu2OGNtpw/Pj46ZJLf8gFpMGHrNK2hW6fWDTD0wsd/03ZKad2rOF/6pXA3V7PDeqnIxWed+AP/YMjLvWr3ocQJ0gy4o9/Ryc8U2p+9aYcK0blC3PNh7Xk+8Z0Fzf/O/M8UN7hoR/AD/wwYXlqpx0nDLV1lJwZk/NuSKJBEhCX9Z14uGLo2Xeqk1y1IN5Y7E0LL7Xrb7BrI7zmnChD4flZs2+Ldj9P7Hhn2r2cqQu7PWrUEhw3902NavxhHq7Nfk0JUR7DD0cRvTuYdSZYLXIz8oxR9JLA0VTLh5QpBG8uSl5blTmNTrSHcDgVtO9T5wfaAritTI4N/LXAbmgqmHdSyb0W7shHechihJL5fYaxtz/pTgK2ev8NWks9lRMZAR398JPIMEE7O2+h1NfrQEeieKk32EbEN+QQiSBB5pQgrCUNcqvPS8/oonm7NXfvnflFnsQvLlGMBKRvLpkbZn8tkZACpyo+jQzNFmvW1wrLOWtoV0J8HqfRGEKqGLwsnWdmHhOgn5eSowiPuwnsZjkcaw/jfx7LdA65nSWNLQgEBzOrlZUEAXOvFe7Wvy0oh6GJaA1XlbR2bbDOCYTMAEstMaQJgLNed8Clg95YaIXRmz3qqJTDbxxlgXHs1LtDPe7FX5ctQ+dzYRb3uEMMNkkYyXMgqz6fLqE07bFdT4lYnXyOM7jEEY2wtDCBdfikGc0FsZWUe0Tt0jucpErglB3PU0Nypp3ZNaG3wDv/sifdDFaePhu67MEelWtFcOqsPv76dMuyS9/t7X7pAtmhzQQ8NRqZbpwSFDH1IDxr3S9ytFVAeiKfyFF44hMb19RCkFen5SOwI/018+UlG06llSSIYCwb7J1o3ZKeAYTYqTGrRZVmMScC4eAD6rCuzy//g5r4dcWcL6OTdPRYa+G2zrErN4tzOmGj1nHZRRJhotAXfgs2oV/KOThRoTBYxWp4J7nqoh9hjWGN8m6B88dL6i/7IYjUR1qgqLT4KLbF6nvBxcNwA1cdsaLgi+OcA/bbgZ8XTPtX2cIZXZqYOxs2Qhsa6zszS0zx8SKkvJtB2VdkYahAW7kgALwW/7u+mPAuuPz9ZHCl6Od0HDManRy+fSXY41gwX1GddCi5PtQW1n/foHPb1tjU3z2gEUi5L46dQULCTo9H2VDAcTiapDc6qFUHeJVdQlMnffVnaywPiMLKR36x5nR1dN3vxepprSGSZkufjfz6VPXSQgGiiGlzDbW19vW/5xYRNgocIoE8LDN27Cu3Mdfg7Mv/I5MCBQIpDwOoHys346cQBGBmp1TL9Lmv7ecREKTlyM6g9iGn092uGX8nwXDeNTfs8hxXu8a2y3qZbl7gtCxij7fX/fmt0PzpjtHb6G+OSq8P8hSBFkMC222ghUgYotUrBYIs1vVmTlr+7ziMIzOGkQRhdlR2Wd2/BR/+PEd2VIGp3jKlSf6c1EswTRy/DjYxm6WkexQuPh9BGdg2tpMwbOw/7l1DgCFxQ+1ZoNJcd2dUrslWJrVzSgzDjwEQZpJMGp+C018pUFpsbYZCitph4OWaFkONuoTcTzGKUIBQ1sdxZvk6q17Oi5TIN6ybPTwXbOgb8JHJXdWWrs1Ec89Vthzy0EwCVneFsb7yJCVIMAe/thi/HqXOaQDcnxubZn0NJVKWiHPVng6fYL7h84E9SGW6LZ4BVbDKjQNEUA1h1uKnlWjdmA2Oa3//c+c/NH0YpYrczffK/qcHh63chlb5RnY5jklx/DjBMzdUs0jBi60XRfIxLr0AMzjXk4lFh+Olkpi8q556OZ4WaB6mLIvRJdYddVJ/5cfGUFs3Tn8jjoGg4NM4KNbwILKrHPLUHPSPT6ZvEMoNdeHHqGRWXbbI2D+ppI5KS/hhE+eCPObuHZ2zC4FTjc894I7VuexPlRXj7C74XkDuQnfC+4tD7x3dHLCKUW4z76qGngPVgY2dcrmA85AbvDkHu9CXGFhkpjwkGVkWfbrLU2qkGMrfKCr1hfucmXEO3M1VWp+k/DGKs7kCansbex9SCspog2rC1gUnMTxvx/87WFfVcMiYJ7D16DiXb1EK5xNTACGrBKDDcJVUXbIab9VOGrr5MTbz0y81HxPnGgKwxsOkI1Uk6O4lpwmGvqqwEYXm05HgPFFqEvr5uN2IT8lEKqeukkH4R3tYSFzyZ+EfoMl/5dIE0ZIksnRZEXuXyWe8BmFYkTaDxQt94wMasAJA5neZntXoSc9FrskqjyXZPS4UYNhALMlfNGZOzx7A4VReguO+fKRO7L0t/uU+jkDk6x5mvyDcEyizeQpfMLfOJrQ4yuT52O0lmDXsxu20tlcB5odLhSDqGhGX5JWiPAIc6L/Bp7hmDab31mxa+QshvxDy/8/CPdPzZTlHr8qQZVrl+8tmwIyT8prtSOjXfeO56Ofoib1NBsieoceb5siZcS+3qFVy5j6YM4OyObiVfvYXfgVhQ7EZWfvDImAJ9HXoLUYBHxjKrei9hEOOppd3gz8vEOsTUezvMCcBU7IYauOa3CwnNz74Wqn3+s+7Ba6no8f1iWvZYZ7w3KT6JR1FJTn2BIZnZA8GC4WWtWl3hJ+jKZqm/ywETuE8lmcIyZ1/yM12kNGj9J7XRHFmFC8IojW9F5F+n08l48XcbFhLDGBvmBVu+hRFLXbj1r/teVcSOUelUAwjoZmngLJb1Wu0gPIB8BEgHJ7ZOpPK+RkDgBenQsrqF1qySWvtYdY9r7BTqziFz57V/sINFVucyzGkk1IX6gUIwRCVdAFIKn7GjRYUIXpKVwnXtZfo3xcqvmk4Z7JPdKZSo2W2xG0hpJUvCVcA/tZ2AW4Zb63Nj6gsAqdFXxOJ7sGftel8WpKPTMcr+ZTR8K3+azulIpkAuzeH9QAyYpBMH9Ff4+qFxNYI0bDQi7PvTX2pJDqzM+dhlfmip3DNw6JMbBvKkdw5Q4YoWCJ+VgPvcRkn8erIqEhx90LWiBjJWYNXFZdCVZjeGTwiGzTnS9oihgcVaYt4DDfcCivMGVEMifomitbIZj22wD7886lkCarg7GP3YXnap5sgAyRY4dQaYem4Y9MAwXZaSdj13KrbKWARzrlU+vEhHDeI+zqynUNjI1bTnkzeiHZeU8BkL42v8ZP1gCbEZPGUFGHWAcWthWHtB9CIbdx48tv3YkCBtuCk2leHri4GlwftCoJ6U1FtxS/b5Ec+uBNFtn9Wpts+mNbeCaa9Ob3sEWDbw1AMOlCJee6IatMQc5s74HHv1aJM4XVQHQ6AaZKEbPHCurM6lSrl3fP9jNiECv6TtIBbRMBoHhhBiVCch4rgLPf/2m/3H4GHYTd5K8T5x+K4G97AMjlA0xPWdh9yVF0BCuDG2vDLWe8nV3TVJgN6N8h/Iy6Sgx49CzbCgWNuwRzxiubGvrpL5wLAYF59OwjhhhEQ0eza9SztZe0OYWAV5BReWdpjFALFAX5dDuP7WxAOvsar7PPXdl0S9fad05NCGMnljMZk424XQfNwqtyc03uZJTt286+SPMPGuEg6JDgcP3tIzqpYPYRFfOvqQXwTY9g0zji91Cadc/2WGqqe5lV1Ym8Ca2cREsVq9dhfeLR3UBzD1XtHatNa6MKDgKFEXClP8Xe0JRRxQ8aZe/pkeQSJ1n3WGbOjEA2+ZgdxJxU1E2fWq2FR8kCy1D2os7FP2+yDYgym6egfy80Nf/R887k5x5v5MS/7Wn8x4G6JGi3W/hohvVNvpzblT1dpM4Z7VlRg3mok70orNWORlezUZkmQYxlNHxn1f8GcB3iMP5feWGVb3DOLVqYRvBmiEx8l6vS3Kf7P9x1S4Ovg0Zvv//1qWemaSf6C/2RR1Zx9LsaINukxo2FXIwV6ntkxgTFbqcb7qaiL101/qyc4kkPZlFGpGMNhaNquSzUBLO017XS8dU6yayLiJUy1UZrYlgpoTrqw1ndMHK6fguzyHOq8QkC4EKwuJrP+fEv2i8yJx7yosRMveqVX2JfbyZmwUunKmCEMXmHHAdG9Nbd4320shmJjd3/O784lQhIvkL84BTSlMIx7EWJFbBhDwBk9XaZlPmdrnNU9QsJeFvLpN1AhYNkGwy6G/PkozetEnKq5Ap6rtsEZDF+9Ux3LV79ExTBvNudL3KK6UQBmzY1wQvJ8mIwSgUOqunICWLXgGDa7gthy2p/3QIzzmlkYwwOhexNGb4DheV9eUCWrNBdCHhQ64vkJKYOGE/6ZSg7ESPqAKZv4GHluLpfLdUfOlAy6CQC9Sp2J6FtSnVJqcCDL5ljr+qQ5OCqbEvk+TMa4D28RM9mDoaKedx/PZjR2pS4jC9BRKdV9ON/q+P/TcddAjVorU8Hb3xLJ0PICAQSPpAcZm3tWe13PXrDGEA3wdW7E0myPoscRr63geI0xG/Y15FX/wVvvJ66C7zR3kb0NKhZGwJ2oanOKJpUceKXEDjFj5WqO49M7zBCXxARJHRL5HMspeP24ABEmc8v+GQpm2H9h2Vm+GQJfm3rezbpSgFtDlGwimlGTtcUaKVuefb1AfxBsi7uuQftBEN3LEz0bFK848SA842zWE2KvmKhlGkEWuUuTHqCiyzy8aEK4OYdmdNBnFBg/Gf7zxp5p4vu6gxr8+rT5yUQoXfCQpWczOKjq+/iieXkWMu6UrIaD6bquGw0X1ayWoSt/NOZF1Qm9qBWfEzEf7FAf0mY7AUwPIRuIQA6UwxB+N6JDg3rDrwyfsCpXHS+yVt01rKG/XwyjRIZwAaF7RE0ICD9ie1yPJonQbc2RQS+ZRwfOue5aigSsBrk7Y+0K3y9WPwD7fNSiRBVrRcecKjape8nfWUT8E0ZLSPZvztVugJ5/dHEFN+ZBvDh7/YRDZY6PcjZPeIWr8MrUmTAh/WIjT/V+3K+UJcTtwfEQ3nIqO8xTiTxP1Npd5BTtlepb6aZ1jytTZNrEx46xMzIoixmYB1cwtTCmJkr/BqWGcjYh/KF830MYiGi97IC45oPaIGp57OCYA1c02vFZUVq/RqNLM8XA/XGJciKUWeOuRRXADxmHR9tdfVercZEzPWPO0vNPkQDZFgbpYbWLCdGDn97xeQofU71/lxZkF8Idur/6MoAu4t/0T/EBIQX5jsnkr5t2WCGJmit7ei4Ia2Zn0x0x55bB0j8S5uJsHDiUXxlFXCesOjxXIZa/YvYbQgDiLzP59T+lRmzEEC/KzTCl7qerD/Rq2d+T/7j0RQewkzobDUcQDRrRj2U1rEGWTW44CQRQgRtJ5qljJG/ThDXv+9XFGxtMLuvzLbSEIIkNozhICoEJZABmmiLFiRIAppWUF0Br8Sxafu6gYcvAzY4l5bZlWyjDK4YTEHdjltWLFHbPPx05lkFrdCG+83ro7uSxHqo0esEkNf347o0Gup4FeCyv2b4GBPzqro7VD5+eqpQ7w3fFK28hj9BkMXmCahSpOKITmZwJWK/zgN/pTxRkyFolA8dqcmMImaGksqrH+Opw64kfn9m5W/uZPQ7CWJ5ywWXf+jkVPvwueYLjJAx28IWETDDFwQb4qzM9Jfvs4HuNAZFJ7Bt7xT7i8apqcUZb0NBlwctOCfH2T4bK9Bwt9Uxfx1Ac/w0WLrqvA493raLsjPvmGgT/5DMhMwHGNPtEJWQaXuNAoe28yu1OQgVYmmbCa9XNU/Fuf/aNPB2qyiOjcMRrImgEz/pDdvxmwzPh3qXICmOghX6KeqDQqUY6bE0Lpa5eP5+AiA7zWSuKL1XZPlhn+/uD2TeomuPoY70NFhY8MWPNw9qcfx4Nw1hMQIjCwc98dNvI5GjcnPvMVa8QywggU7QniJ9/ztrcY0RyfeUobPlpoN1TWckYvGheWcZhR2l4UiTlm/pssiVgUQujYQAPuGKwRxb3K8kvLMMNAPQH74vBgGyUpgz4BMKz8gzl1vqARLfYu45xRMkAYilgteDS7YqwTysX4brAsM1RVvGTpG5sbizXPuJpUmH/0TnV/0SQx/f7hkvIZ/9qFOFqgiGeVifIRXpnZu8AH+ZnMd/rFlZDOfHmmonu42wUcoZLzdzpkFGEhxATCmIqdeV8HZ4Y0ycIq7zEFiwzBGeJqnxEJ6UkDinoIyF/WQ3zuf9AuHgtbmxArG1NpPOKgZAX3Lwe2RA5HO/1SohGe7Nz38AYgVvEzNlC4ZiHWlTuYsNOzWulxDzmk1bXMT9mrh8Db05MTnQWcyQStM8xpwx+V7EG4EflNdM4aFKAZXvQEZkNQSk19FLT0TijFg9snYiKU9DTbMMo/IjmsHFW32ZV7OVpCoGFk6ifTchAAMMLDocvBulm7Tl+VygsP4sa6kn7r3+fNsnXnq8hsWK+QWJ0hvYusAI1be990n5p9oseLF2HiPnoSoss4nQ8RHKkxco39CpwPT3EsnCez86jYzmCnKjglOkXuR+ya74qBSC5X/4jiPYBnLMJkwvJkJiBNu5760mRraWQHJcOgipMd7M+0cNvN3pLyVi8058E+SkZK3sS/SlIEj+vlos=">
            <a:extLst>
              <a:ext uri="{FF2B5EF4-FFF2-40B4-BE49-F238E27FC236}">
                <a16:creationId xmlns:a16="http://schemas.microsoft.com/office/drawing/2014/main" id="{1DC735EB-AA87-4D06-8411-9B8ED556947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43452" y="3580345"/>
            <a:ext cx="2955796" cy="2154825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8" name="Retângulo 3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/c//OwfVXv78j4TRaoAZfGMm57sv3U4H7BsBnn7yGoVqSDWt6NNRMyJwFmpl0YfRyUVz9d1AMnH2gFENC+O6mmM4CzL6ikkzAiPX9gBkGKS644udAaTMnYi9NTT2+wpEtd8kCPKF4BcLJH9vtF+xbyKNuuwjnpqhQ9zayLiW4uEuKKd2dX6p2DFBlVqix/3hL2Sqypcud1jGVp82/9h1UihrL9OqgRIQLPV27wnqTwD1x+elWMcCXrIPXvq4bUDE479s/ns2nemag85YJIVllfWuuj8W30H7hAOj/vjZFeEWwcOaNr1EOMS+qUVFxl6mW26abt5O0JJY0wZl1hcWEXv5mx5+MnYOLA8tnbc2yEeocJxuWbU+4CZ6zvxoaT9Ht+ts6X+ke3mt0FNDVw68SiPDAlTSzs1itqtz/EYNnAGkWMRYdSwnSuPQ55W1UcPSgdJOFUzINMXKiXpQcSY9qiJy19Fe2rgcy7UBr7vPvAhAmnfxvXGQKhdQpiQmInpZpPEjvdTVgEhf6kTfZ46PTZuqGtgs9K6s+nYa7r+IB01djlO/YFcXKAoSD7PYQA6wEpcriiMUWqgzF6YH8kvr+xDZrRAkqOTFVVRCvXLNDBhOKwjcfSTqOqPT9uUcXMVPS28sTsv3zYlmc3N2+8dJKTNSB3Zr3Zbqg1Un3qn14cjj/ZAsVhPfV5zNV48QoMTymyb+cuomIXA48YEAAmRtKpGu+h33QFDHEpakz9axgN/oty3ta2Jkn+ZffH3h6y9uxrH9bORt5q0pN6z26vnmcCpEdgFGhPJX/Vir3J//xDtRL4N6o7wKD5PTecfXlii4t7mCBnixhY7XI1d64yUL99eebZ8GvgMpIYvdMXMboTsZFQMDfS42uDXq9wokNn9hFiLnfrQLM63xl9x81z6TbMm0AfgiJTCp4Y+uQkfxGzc6e2tuTY5ZE3X6VN3hx3gBNq7v/wULdM/kKJI8oPHtPFJnhYQeBwawTBEFPHFSCnkAU5vhSEABguMwQP8yS7bi4gbcan3TpnDsbqCcAvEGAvQ/s7FzXcIYKxB0t0rPSHfo6ciUwEW/hlNOIEqZqg63SFJpipz1SKlQfm6P9fAAgOCCEj5WCD/U48TgDOewZIDyQmbhW/oiqZCLNE1pyJvef6o7zeRn0VTtJapkuqQ18ZfdT+t4+Bud9iInbKMDyawdp4Qw3DqPz10egQbFHXwynHLyU4ATIpftSvc6kBs95IAKMs9pPzA5+aYzeINZWkz0qU2+sMHw8VgV3H6te5EvYE/ChA8hncm+P+Rj8HhK+g7DIF/056a8SB8efCqqGS3GGCBts9L/tbVZNDO+9vZnrOLzzRAUVJNqev/GhRYwSYAjjUipURGrXZhpFFCKFnM/bw+28rNZjvsYlF9KZi4kXtgP2meqNncSTrjfuPLEf3sq/vRbpS8EA0LxvTi8jNi8rhh/99uwmhtu4WmlJb9Hl1ZKoJMCeCHU62InPMfDue+UGEVmnIw2DD/JhRLz1Qn5vc66HEJhz0Aodt8IlHQ/ljkzVUc6o6FHtxy06h3fomCU5seHWLtrkG4bdoH7Gj2dkAAx6ff5wwxaSqQHJ2wCZsnAiRjgFEXal+sho+AtysXw5pBhztHlhR9j9p+amq9eDfgxSo9rtzrJgFft6Y+QmnsvBLEGEPbobD7KyvqCt2V1mCfBHKBG+pAgdkXvjCQ+XBREopgut6Tn7/ZQeBeCjYfaPgxGbeKj+n3sgetP3uxfClAzJYznw/CXZIGIbI88V/AkYZ9mFFGYZRJ3S2SrG27s6IacVNMLPSnFITRvo2EtwTh2x8ATCFQ/EnOE65LUY+klHNPkIiZSoMN6J+Yp1nHcxevzlEsn/236j9fo/n1bwAih2fapMzxDRzzZWFJUzQ9LEPQcV1fWh/qp6x+Ma6gmwQLSmzMFL50lkbKEzSR0yk2ySsuIvxAVNfzRi87dylQaLnSRLruaFY4/EybFkmz0jxRr1TxIKZ4RmDNlnATdwTgTy4gTbU+TB9tHANAE2OAZMYp//aZpOaiL5QiV7i35OGa6DeQNNNgRjuE4/dv8zi01DQGWfLuaRFrKJOhLHr/0rGdSZxbpoYOs9Km1d3DcMKB/OzK7DxLARr6gvkxCBnse7Vl2J6CZPrmzWjSMd1UM1pgYAG7c/nZWGty7K24HWWNIOFpWYX4zaS9CQdPUV16zBhm2sMzK1PsrEEQY2zb3PIazbarbwQugnhRW+0S6TgDoyTSjvc4uD66yMgnD1gurdhajH6d8PdCB0dVQZ5XQp9VDt+4u1WdSS7uY9RB6kgQD/kUpyernUoagX2XV/8/4OuHT3bQSyVY8NwD4dut86LT04O7JT4h25ZKGZuuOD8JQjQ/mCJZybN7YGlK+FeyjoeEjSlALLWm5bBx+vn8Nvk11Et13AXSH1UIXAlMw0U2qv6pjo/Pk4L2fCjpUo7T7mKZO9rJrVPQ0HrIGZ9rizcUzhxfl41BLpYRc4v+lS1OSBwh7jaad3FOkLEl1LcBw41wXwzwX9CP3U/jVPVhpD9ihN5XTl5OCIJPp1f0TpijVUKoo8VHHbfDhyNWTNEBp+zuerBfz/7VKwSmGYD3h5zEJoPoORrxCISCw8Ehsvg5hYrOozJ4jmei6KH2PDPnWqa7CtD65ZL7TpTeBO9BoFFhYd7IfiZe3WT+sXTWMI8+Li3Q/gfYylQkQCgVcJitrKT5p/FowqgKEjTmYEL0Ou36YcCYmzwUTi1sb6D7PtgAo0YCpewFNX+h1SOeSjfcp/6z9zcQM59/eC/LlMepsYY23uYzfu0bsZBxzoFapStuvNi0u7xpvqcubmSQIi9ZqFR+9+J4vYK4Gj1qDDvH7J+68wwBLFy80ohd7nNd4d6Usj0DZhcE/Ghxe8FdfvUnJ6v9rTZEF0m7rpyDGO4OywA1P9hZ7y5e1QG+grpaiyNcLBSZ6JqfyZ09DJ9parVgvMSymTbL+Zuha1S9flCZA/gglLjMs/dPnPLL7DQ6xbYMrk+oD7vVcYJpVKbSCk30F+KFaHua4MZUp+/J9eY3+synE4TjuXOteEPB2fbad5US9EcGo+xmLLJBJBeq+3K5cNKX/s9Rr8NmBR1VLTGFAbc/qO9QnxX5TMcLB++CQxSpU6YKAMQplC2xBCA+FunbTcCmuyGa7YRzF5k5Dbz40hwUM/EM6TPjJKRR+MRi1Q004DbedGEA6UlickdeW0HKcS1iFX3dHTgJUb203GiqMClOCp1gXW8Ax5tenfBHp52HFpSYdXz/2pdfTY/HCAonfum/ufUIpy3G40B/OiRhujMAImbb+C3NJdrDFKh6mBP4Rgqnm3l2ObYyatMQEGCFu7M+UMTGWNl9QPJSPVOiQihgPp3z80EHWfeRYQaoaRzT92Jhz/nLUot+03E5Y16shXTBTIvctqFKIxqgLIARS2J7popMKY2a4dTgDnB43oJXslrzhWIwK9cUAkneiaMpqcnrTA4BjBkOqG9Pt6tXq1D7MlLYniZM15VNK9tsADRX06KIYeOYmRKby/MKOp/UgJWkGFZ71lsjvx0icqxaWKStlT3vl8IZSWz5nmFIG35OY+Ek5QQEUZo+1JU78Q16JMi25N1Ijx/nKcBt+qZoHFgXgWFnxYsUzBAfdCknbeQ/2xljwQORCK9ONiz3FyU2qXCZpHpZ0GKeJe+Z26NF0BXvBk/7b6JrwIxmbiFEEx8jyRcOOhPchKssKj8To+h0UOQdoAwIsl9wgXo0BJveTnYQP9Q/VGZrkRXiCbuLR1XFORZVpmPDX5d2xmRnWgLkL+i8KORTQKadZKcnu2rRJY75uAoX5IpesdDLP2Mrsw1HvpI/h/16knZ9svowTKCvjiV+pOntp//Gsa0CcgnNBpHCArXwmykT1n3zdPSp+QBqkICwDeUqgl92K4Pgwqm+0HvjxWFkkKGuXoCrBT+SE4DFWd5enSTsGg7e2L11RBiJnhNrzpoL9LXrEwvQPFGAacLjcZzq2qkwlYLhc7DEcr6S/mq851JWe6GRGsFDqxEeJHfzeTsXfBYv72rKkahC7wwZrXKX4ACjcbd/ocxu/XSW1JrJ7bJlWsQtXczGdFeDH7Sc+ggodPeLUb2QV+zquGBrtyaHjHwK1zkVYU3FV3ncmYb2ZqFMnc+coTqv2WKB2XcPV7LKF1kIBq5zDt4dZ+D0VOGiqpWavS/R2g8bVNT5gdA0NC3bWjOJRP3NfwnekFuWhG4bDDLhBdDYErWIRgB23yDVfXYxj9zrBjEud3CkNtJ9aooTmhSMLqkCkWKcXaF34ob+z9QVq8ejw+Ehk+VaAzbTpeAIUzU7CNsdzfOMiAawdpFxkgoTqNOXq5/earsWoA2aBskASjA/ddeEmFfVxfTmb6mlHf2CDHK/C02LIE5UaeeVC+Qkxr5tDNMaAqK+NWtMSkv79jxRfwBIkgkBJhK+WIM5FVCX1GFL7pOBQHz7jVmvJL7UyBvqvLoMU3gmxVQKa5LeNOODsI7GBhQd1GISriClCKlijn0ELdV9bWGucgQxpSx+1X/Et4sx052uLWwJj2dmNPqDAIMZw2ZnblPKp/8bgmE1sZWf1QX4mQuhNwgbjXlxZBwwU/3qL5bIVCr2EQYpDWB4xdOvYfOmBfqJ20QnXnGHg/Xt6YZhOvAt2rJsXyjH/Gec9wgBobIuyI2EV+jbUjgwJOe6WwGMC0aZuavLKvfGEHaXGu2FoqRGDfqfy9fURcouAXKgjD0ZTwggkziNOoJonAIDIslWk6pd2SlCj8PyXRMdvUNJKeqvwZE5tSni3R1eHAZqFK6vDeWINS9apwm3bbC7cX/GHSrbuwym4Fa/r0dH0gc6jUhFlK46J+8koWUwI/Wven0YucCNvCqMKV9daXacBFZcIgl9DKLCMSJJp1XoSzFjY97wBSQZlzhBxpNpR7Oimv9gLs/LVNDEAv4CFHjK2imPe/7ORkPt3CD/A7rhI+W1pTmPyb6B9we0iiYG5RBeNE3VBbGW1yGe0HL7ptLpmT1KAjmFWHpARLxslxmPG0YH8GjpQowJlJss8MZf7uAD6U5lg1I+65RdD32Cl7OseIeqhNqNKcwTDiPDah6/4IQ0MeSVVejTywJDBkR01kWMmWuq59+jrj8nbIBqNKUJeKvJT3d5zjoVf+WqoFMfCwIBJIXE2AXt1NKfAdKOe+Sc4dN+S/RME+T+Sxgf66xWL8Zq+ZxrlgKvxNFAJ1lo6QDa9MVnnuoNU7+Pdrk/ANW/SgGuXNaH0QYGhWM5l2aGlmFoqY+00lGvxTx6I8p4OTocooPTQB+1fVl4sdEYTsbYe+V43RB7I/FLN1+iT6u+77N9zBUOr+AohNIibuKhoBNa2VGbBC+hPrInsPdvBqYUaVusikhxLKSrSMwra4p4ZC4MpvqTmjkiYqJ6yHW0eyJQmTdfkmZiYjwU1m0DY8cZwV27/831/dK6ZsgWhNroYPrXqnFdNp0qzpHMBs9ccPQvWio2XyRGLGxtF1ewiaWTjuH2dqyqMGAzaJnpZ+Ebe0iVKYVf5zrcy3yuOAlEMTdTRAiN9VsqpshxmMKTcyfTiJCVUVo2+iBEoRcEdB/+ygXA6oVzMS+P9DLUj5XXbrRmVb0gDaYJOXOjuzR7E5Kd0Hl26FuLjermfK9Kwapm2hJYHvgnU6wwxeSscj86/S2qqpkxWPXB6h03SFnOusjVYyhx0yFVXRnnxH5ry/nNWpySu21qZAbS1MyFnuVCydFN4EJfFazEt//wZN68Gt4vkia1sxcamTPqnHoAkoJR3Wg1ca613jjKQ0R7Nj4uchGaepQIQ3Jz8Ei0Db/FPSkZ6MSZPVwf/fV1ggvY7jDRNMbkXhGFPs62ZeA/zebzwEC0RfR7ZaSZtApZ4OGbQ7I67AzVhZcIVGvQZISJ7chBlmePL7dt0YoDbEB7vtCnwWCulSDg3Yjf0Di1EyChDyC4tQp4FTKpCchSZER0dV/7VTEiPIvQ8J5VtTSYriUFDyBUJspUAiRnwppnX2OMQodUWvfN4XD4QNC+YFXdn75oIiZjx6V/N5bxftZiEhPwSmEm9zwzc5bqTpyoBC59Oypef4j26RChBvKVCc9QeQPGW78SnMxpWt4cEC75x4PnSgZFs37VmBqO4UUejiO7UlmTbxkpz6EbvUQqByyIJiVO2/6wF4yEImU2vnaiQrzxL6FCX66HWZHK87mCddylDoM2klFlGU/po7DHdqyKrV47LxgL05uEhpclpDyHXNs+8IItGjQQXTEjzhrvtZHNSvFzAIZUc/E61RTTMaLl+pfGDLehJ7Ipncy1TJQP9Qv8YQmjlejm9qrPPv6jLJZApaNzrO9CfQCitvlS8qRb0Fv4ITl+TazIyILSb5wCvpb7CfQ3DUYRVdNk+hZ3uZ1pHfSS1cg3nx1TaHtypKf7eX0brHw+V9t6S9ktR4u4qvm1/O9jBvxplzLP6+ufH+L5e6Xzxzd5H3UAYjkau8tbG53VOPgvFbWGcq0Nt66zPtp3J50DYVt+cGmSkugLY7qdnZOQ/rt4ZL9Vo4euSpwrQPMiJmsmJ4O3LhJtU/B/bP6hKfIOpo+AQwMQC7T32g75Hnf40OFheaHuDB5ZzFSvU8QlA+u4hlILbgjyZJxBIEZctPgr9qXHn1pLBl9XNzshe/TE9U6aj6vvLyrrInHJJ3b0rSwS/gtMtOEJPQy+cxpD3dcPwwnxKPrY6eLXmDiUU5icsOeghzKYnw52XQxYst3YvlNAuGUptGByU8owO/SD5P2zc6SOO6P5h2gMZPC+eaemsC4LX6TIFZM2rkmfxAMQmiIhaukLILWHiuaUol8poTR0W2FeNPEA9lgIcyFaU9/ksZnruFWjz4DyvtS2izhgqviBySl3N1Fa3OYd+I5nrZ4IutxDfGLnUmnzswBBapsUp0dwWtcyri7VOBxKsa1EZwKCnj6lhxCahpC2IpFtvgOiTHkgXGG3AAFGQSbOJINyr+VkpLq4hdRrnMDOYO66pBickbg2sRTCTMaJZz7EGNqhktWXLjIW8bKrOvVyup8XlXko+lo+CXgLl/qr+jk6fNEi9T/jC4xkRgw0+2xVYbG4+mmBaJjD/YFyyhDqHat7i1+xHspOIJQXpoJmFKofzCsU0HYlbFpWp9JWrX4v308CsKUfRHrywdK4/Pi1N6PCTOmduDwZRM7GzN4hmu+gciHdSf4ngUei92l2JKDMiUAiOmRnFK7ZZXB1Vxc8ov2F+G+5+BGnvMCwsyQJX0YCOOiFlRLMjz1Yt/8n+qJLclfSGE2mn6aXXM8NdEJkwc/ljBoJv4sT3jggxxgLtXzwSyRqgOAxCYai3FBYbRm6VbgvstDkaWiMm7U2G17dyMH4nIqoqr38+3YsdfSFhrojJG6CZPIu6bfnjZnpmFs/IUsIQ1XHvzIqA+oKEfC8MOoL0xHbQA4ZRvRC9YWVb6fnOiD5fUyAz5NoZeudIZHhR63SHFp4D+UTOMvREnbnGX0FWWBVTKluaKBJWvhJYWsAQ/HkQmdvxpNoRJjMlmYcLt3CRFwXUY8IWHOmgnin6k3DE+7zIem5ALvCRs/mRT+EIDK/BC2fjwLEWkIGKM/380k7AlkIn52N+ZcNY3DDRbNualpx7SW6NPg2GZRU8DDq8zYTjNgMJEvQ5F+ahGpkBL/HK+5R9iXanARsry9LDqfDEKzf1JWjp0X+cOnkWvJZnygsyeElfppTFHZqS8CtEID15kgpSsdq2dLOAfkr4okdlk6vwcVgw8FuHTStNFYTk8yeJqI1bd4NkWI5SUVW7qHcS2R3/zxce8gPBUn/XMRR7T/q7xmqcxyQqsfGTIMLpYlFXCrQbHSHXn7SH0ORdnQwd2bY6pMukBAfE5Xhcf/yhPo4RgMWC+soniskg5BoBKLs8r4TG1+iPMFL8A9vecLfmSqhBs/FyJ3ZygzmgcuTzxUpzmjBC4gTbNuSoWUKP6PJ+IPv3Y6xYfgaScggfY1pJRJUJVRk7ZTfEgfc5oMq2JPZhfIvmpvdYQEy6mMOJQ8u9WEnJHRiccnIzsdw8hmRdKk+r5E94CWnXvoRlGC45JKP2i0m/eLOQrvEGA3UpAL4AKez/IMIuCHlGZUOJKJblUJVWAnELZ5nzt11BZqz5yNiRlL9RW776n3HmIoF0t/oeXE+QTvCl6vQ5lwZ9QDXBgvNKYeVG72WvSNKO5S+yEf6/odEv53hSbaUUR8k/+3221jmXnvrurVCqMm5ZtMGY/rwB5lEQlvbFD/3qSdStKmlN3AyK3WEXtM9fuBM3Nl1/ddpBntagaXC4cWqHuximPvARiORSZ7cgvykAQImjyHElCxny7c+IcDWhhAF3cLzCDx5fhgU1E92m1qAY3cKXNsFV5LfkkFmDNy8CY1BdsCGlLOVfCNmPuy40qlDwpYPEvTwHnT+ZLD8b0cmrW6vWlDBb3w7C261KETVixeU+WtBeHh+oqDFklHCjZdQfOGhJ3/Qk6ZYWExw6U48aQ+ToZr2s0Z3p+lxOgvsqyEQxL2+cjaHrtxdaGHDFsvUuoL/kweA/fV/mbdsb7BRX9rTZ4kJvzYDhe3QVoXuzcKPXpAbDMtq9qMlgnOCAX7SWRAmuVaFjbPZiygHjhmyxq1FRVB7TqRZ5nHDcvW3LAxgVFluonC5bDvh8Uug1BgzPiA/C0kse7V/kmXZs2+ZGZV8VGY20Dqz0r1iFOyBhgQ682qA2jriWNaYy7RztQtA+Vx3Ymkik1u4s/BzCFZJ6siWKwJ0yVkXDkmUBOehegc7M7OvNloSgUqSwBviGRgrNkdVQKKSAP9THbqQXXcwuMIVzUxibNhI8TZvqYD4ApLDq5jM0X0JyXgsomUexKXzGhHWm6pHELojSjq41OmtYKrdRAgMXVkkNiXg7NMdBGqmhdmBwDUXSh0FA0NDsCQWgz0Um1NTednkrTEp7XHoONC69/tBFu6bbU6AkjidZIAsd9YlE34HQyxVZgh0e9RC4/YUQAsoLVLlY277W423xF5sPREvcVvSbG0uWq9qhBP3ceTLN3KHDLeo7roGqNtVqR8nOwNIRujggyjUjURx7iSh8C3730bvTxi0bHZUnZ1fwzd2GeXsyJKvWLblaEYZ66sLDArWcY5TSATSJz2aCB3S0Iee66DkRdpVJAqP2zHF/Kj5tQY5doUnkJK+Tm088pJHgILdP9VSUqDsS7bQQSGdwoXE6rrCNhiuYDH630yzhHtSbSa28mr7BJmhPmg2lTVNf1xGy1OL01X5zo1CsVyvlQfE6mGBYpQzDklQFo49AoaaELe8tlFGPrjI+8HMszgK+c09UhngksSsREdEECyBACzLzZW3HI3RGk5BB/6GS/uyq+IzR7W6ZxWivVhDGfqnS1khaEYlGrfBPnF251ZbCtXKHmyQ3mRoZb8WrUTekrYv7eDsInx6HV+o3em8PCSKiJHJpXYy2pqz98RF4aJxLklTPYXg55Ej3zI3v/L+dPeNCyE45lwv2IUKmuPKCjW7dIr+yruD57ikMBjd2s7mNT6p8O0GQDZotqgc/s862zCM1jyIXjR8zQzktNVJtrPWQotHA8Mp1/ii3DzukQdWg2I9nzRCPSVMQA/gmXKgAxZpVO2EzSiXhocyi+F4nJ/z1yawUADnUqhE8n8WsXQ4hv/jzQKsuXkng2O9uZCS4Wr69XY+Qos4ZS9zVsy99IrROHJKkFu3Jo9ze6K1m/OuxW7nNf4+LKp1fhCBGfraMwOeZqqi1Qwlcd+aae73n7JC4on75mkN9ynHPXIdD1bN6j+kNn0CwmWjDLcrwcA4ALAPnx+vqhdCrD0/yz07Bq86Kzjs6I6r5KfwkmrheK/07AcXKcrsEY+UJaIzfvg7Yi2d6WuA9WCBldaUPgRzMJLPUL0v8RJi3EKwcC9qBrE+V5re/qd0H3qElXaDk60UmLEMtPLbPbPm8s1Mxf+GbApkJu7gssd7gETcZATuRpfZxhaZxT55vi6GCv9kgqawt3DrmKlgu/aNejWpVaYlJog5gC49/nroqf+yhv6EJJshcFXR26RVXTIuv2ixFrVD3l5fLGCzaaMBFxeSeRgPJXXBD0A+ej4c/fv9I3ERHlyKzOy1G15DmrMr4z4MopDYybPu72kJ1W93eKAqRoQcxTZFihAFqaYvE2Xv6NmBa8Kr5GdgjoNVKaWlWkhBtynr5a+8hD7k+xCs6FWqmZaQL/P6ckoKEKCBsMcqEMpMszspd8ke+QAK+CUwFT9MuYnrjdvDxqr+JsQsF4B4Ij3q9APotknx04+1Xg1Su8co76DhpcRUHc3NhxAv6EXgVLB1S1LxH0uSiTdb27kIT2LoSaIG0zitZA0rz9Kpye695eeY4jS7K8JxAd4eGerrkT15beVMU8xlEDMU0Bv23tCoirF+01cc9EJWvU1rizBpH4YKWZhgsc5S9CotAC3+CDpM2Ut5JugXxU01WY57aZBy3JVEP8qEbelrypLlIM/kWamyxoeCjCpdmf233SNu1YLBvmCFkpW3hHykk2KTV2u/+JkZRInP1YbErceG9AmWfwWshzLyx76bLL6QD20n3W2yPy/3rSovSmYio5DhkzJleEczDCp+OR6phosC+V5Ca39ucVE/fRT8oRPL9ETHzt3AEcwjSVLyJYk7g7P/A8TQ/8/NGyk66N+IgyeiDXZlZ5XfwiKvKI/9EwKpSOHM5FSk4/59Is5Beho7yFh6L8nf3flM0cI1X5LjYJRIIBeewR9n9yf8S3ut119PYK/kRSqzn0u7N4GKziGYw9TlB8bqSM0ThSGDpM77iE2s49+dCTC1VtKG3JNdG4JGxVL4hqNgqirwVnU2mdSx5/384H78P4z71MPlaowIXjDHmrSJfFRr1ySGsi9oxH1vV75c7XTwt49JLh3yLs8zjE/A89IEx+JtIh4koLNmia6Qnau7e5pvoU8YjrApIY34hH+l8ida1DYA1icL2IPFBYjk+xtw/hPRHit5BWUlQnd3yTyqm5rHCsmHYVeXd9fwL4sg4ZFRUiTHNBc/BTk4HtnxrlZKldSqJPKW0KG+ABNAUHoHngcs5keUrh/5/w9ykgeMcPUv+oDUf91EKS4HoKNZ/5lMCRUHFMTRQRLpQHfS026FCm5oMnk5dUruKlZ9ipdwqoOZSWGJ6eNFOGCNJngBfDFF2u3B5nkbrddW+ie5aahecEGK40nqXczLMqNnuXltf65ffcAQ518PQ2e+rewrEiPiB4Pl4eO0ZmjLm/EkDmKUQTSYOGRvK+/nBfffLG6ui7MPPT+4SwShYx9Oz7DxFLZmHOseED+JAW9af2aga+IVA7sx3ZJ7E2tgNsU3VgElqHBDPZt5dFVyghT9HSXDLWKvlKCXeIF6P3KHH6nKsqaXe5iKe46T33Ib9McF3IxOciEDkUHtMTM++5p+MBoPzulzJGxZzaZYYJXPt1eZgWy5zKhfagFevySQMWLEkpddzDdSA/pa1VTT0377aQNx7s3mSOG96eG8JPzoX7sJ5pXprKyS8HDe1z5JvCebzR7r1Qkx8X5uFHYCq1tsXg9/8XB/VNGBsG0js1yVtQQ0jMQDv52lLYbSd9Wq+PcWKjYWjvC785s/zXzalAG5kR7Orutu/WyjYHLBPJwD4r/zAhnMzfL4U3esreb07Y6hHK40Ho082L2PT/K168Ky4Hh4ZgY+zmnuvgCTzGuZB6+4zOVAiu1IGIVqbTbxXHfm011AmbGsOSTJck92pbW6OiRKq3ZItW7+PyDQKa4XSJzksqRX2sGX1xB1D3uiYvSHQr15oc/oS+P81glvBtnG7SLGNnGNqmYME8+XSg6SGHLoKdEPWpmwwVCMe/ln94LnO8ys6mjXo41Gnt42MfJDtths/NAEhkmBuXQmiY0xFqJHURpTw6JARokS43Wlv4nIhSViuLaDDI8XJpSM5fs47BjTMqtwL1Eud0ReBNTsVckOQVRK2Fjv80bNhyyjhtA23ABi82MNIoIP1hQZzEj0FuEr8vU1U8XTua4/vUqgr7W6fcJnh7EX2BgMPpWIySRL4r8Mss9nze1N5wj4ufMGFyg3tJZ/6/ZuVFnoOdVvnaqPOCRryCE5lusaK8dRUUnLEBhek00efsTTRgfCF81kSG8Tenpz8MN3KSAI8yHPcW+kyHffmrBXOVjFndv7Tb6F4GURBsepykx8tq/b4WEr4iLmepb4XORHNa0ZPUHT6PocMQXGqLHqRzZ4tV7SzMp/ZmOhYZaEh/VMMF6QqN9pvmWyj/UQgIoCepl0siXFhhLxrauPcmQjm3GgeLMQQZmJHjCXwty1edHRqkxgCEcmlcYNQxiJPGxTLufYwhg32ykuBAEvE/58/eVbmAzsyfjD50VMLuaBpiC0yBds2L7ICg+BMofh+HYvAJXRDzqSuryd7S7igw2f/kBAb0hbKYnquasCxG0mwkRtCql/Btij7OL1/6y9mJunWED8CufTTi+wiNx9QmRaho+YNVw1UJPhVHGYNBrSQ56K650kIaBvuxQmu9wxTXTJBynHpQ4UaOrPilD7yM2WhvNYJh0WiOyqRxv3ILPkXISMdzOLB3qPoybQX9nKW2pyeV1SVg4biEzic59aZc7VC+6xk/lemGdCVE/t8A7Cdd2AIXbMahRcqghuIkZKIl5KoqYaa1v/lje42OQL76YPRPy18c7WBTVgH/CHY4/VGUeCRxcYDlv+dAlY1oVUd4YUzoORcUt7ZlRNMn6JVmF5W8ZpGgApB7TLPPWrank4CRBRIRPWydeyZ/8unbg97b5D52l1dYbGJsQyEm+xVIl/wJ9rJPKDXV5aLmEnf3j5SdKencm0ortYZyJqIKDHe33BKR/dDLW/c5FVIUxIQIa+x0jWsoTfErFptztKkphjFvhb6ypTbt78AQ+3mCmjH6Lx7UoXxpY4Cz2mcL2+BQ3+gn57frb1hTfOxiIcC1g0gUXZ+AvNil4RLJbj72OSRqWnpDD44j9dsSqcCC4w+LM8MxyGbTd7vdD1TS5Gqqachem8mhUhOt+HuSYGpA1swOlfgl4YuKDCI3ObqlJ/qms92WuKd7C2yhLY0o8CstetqX7uKf2jJwfGMUfX6pcyp1DKHJAZ88ExM/8omQIx2zE9m1uIb55FVDO9I/kF/hHaJiPBHUfVDxodyjWO5PVAo4i0SeCG4rwIgK1unGhHCpHnkNIneI8mBbE7gVfN3CqcX6u1M+GF1S5qcUNzT1R4snr44XRAD2t2FL0tde7O+zq3IA/IMB2MMyDmtoOM/ewauovSJgyyjZHj8tdKNRiXE992cPoLjJDjImx/zMLh+7/QTC6EcMNePt2vtooyIgQ1JDhP++LWtsZGqjEXkpE8bBIx9BvQjGJAe1zw3y9Cd+PgVrGSihp0qZ7t/kCVM5zn531j5NRJII2CYC/BfyL7Vrr/kJq7aYJWN76FtNb+8uCRA5gVw+PI76Z5Ul8/q9xTTwAvO03wQsrzfzyk1+2PHPNc6/pzgHXKwcl0vSwbQjAHLBjGwyudFZPHQXz2eSjegrHf+SjHKZRtQKA/9aw9vKLP64ENwW2LLbIFTu+A20oe2dDS+7Gf3wP13zCCmMzbJ99u1bVkw9nTjCC02scgNe1xAJ17XhmamDfgY0pPJB8oxP7IiobkKu/D5kfIH+Epvz482AnD7SJ7Ve4OYXcw7ODX0aav6HNLn8Z5VbotceYyDgxDNXuogZuo8e5zav1EKk0v+uPfZHlZpl7rd1+hp9fS3JvtnwWfgpi2Vs+FJMNsTK3qu/eeNsQg9FQPAUwdTqXUTg7RQj39OIZmbxX7qlTizujF8u2xo6x3i42bDrMDcMz+baVax1VutPRtyA5ZGwFxpfRwbJu9Q1d0UbdPn57Fcksrg55RFaDo/3JnogmEA0IIZOL0tJVYfzj6OEwl7CtYSrTplv2CVg1fkhmu9w4tm0jROq/eZl/I0lyhSHqSsduAM0WNCZ3kMNw03ZOa57zfyQ1wpRbLOZnPviLED9j7GagA01vfPwd/qUsvQfd7YIIDRz0BBCigH6Mll2lEaiRAvKjlAdpJZmK1IH+d5idzD0TBdY071K8q3fohEjrglxRsyiXthCSNMN3deZnpKk+mntwsVVILWynOH1IF/VQiwLl0Ja77Mlu/WPlzMA06G2kcnm9lKRapO92tzKdHrfxITTpLtJEbBh82/zSYw2PuH/1XPnmZmTSGdL0nYXq7N9QFx08PA3opWNYemCk5W031nfTZcegN+ADcQO/L9NoMR3Im8bqm3LSomxcO65wgwOISe7IDb4nfPDCk35B+3bm36FgA9gmYmvR1Oz1fEnouN4g42YlwEmraRRD9kX4jsA56demET6nr8HKFSAGRVNRQSdXj6GvqLoIi0DaAC4KWPrenFYLz6oMsv/smlj8gmTNAsksEG1m3Ipu6Yknb1M/iVkVMtJI2Nc55f8bJ+V6Uz3065Vv6Vze0wkKbQkb3TwwJCjcz2A1wLDNm2hH7AFDyDzTEEnv/yb6aXYAEWiwEwEF+9iiFCHg1C25rp1qsSWfi75fTSvBxoWRxyE4lm/m5uhDSiXU30PqwAzhd31Zq/U4rm4DG8cx3IJxfJjxx+TCc2N3kxyQgGCRE/cnO+kl56Sc0TklEj4ZEwfA/oiqvSxE60Mm0hYlM9rXsH7Ru4jdsUw1fWr8K8UYgPxw6TzESaLfh+itdmk1Y2eGCI3HhCq1VIO4ciyrTo465iuyUq/kEKZC9ALm/uyGHcQljOeGSxGU7DzDzqun4BrBglVSNNCTPtv4oQRAq726l0Z6O8E+JE2n0Eu8V+VjPlzpBIbU7SLD/ue4PZEcV5pIP82VWMiYrQMnQtM4E9zBDX+KyDL6+NyEQ40TFaxpWwqKyZweCNShKO5pViJ3MiZoAYcZswX5GPdh8WgpD+aq5PIb85Gi/5RlTV9e+i6IWNOKFRn2apOKXCVjPADphsUkwz5v5kTDIxKcwcUkTnkqaEbrknGEI2nwCbYU9baWTLMSjLVnHBqwmA1mpzHK9KFEvS/cMvM71n1H6bktAfjNbKpN9dUbVPB7lBlaxeQUJtfujKgeOmj9RMbIfNu9d4rE/EavXaVAEDTo11RMwT8QAGGsnaNbmHJ593GJVGbTzy70/Qm1vsRIb1yotOZllTGtsyBPGOZ+py9TN2pg3w5PvxA57mFt9yjRhmaZ+4jRNCE+665kJX0SZsMA+kDh/dqYrlUri+P3z++1dCuGnDVpwAgzNTVCq1Yyts41hWl3TJPQrw6J74tUW0NsAQ/Z8Zar19Nf/RFWqIrSOyjYV0Fmpu6j+65ewqc1WvGPRd0asLOJuv4hDVIgC1Vm7EBgv9sF45Ct1jmuN/0tr3YP+GxY0FOsd3C2sGruXuQIFlONfH4idHjW+yk524Rozw+fejXxOyRs8d+DSuYDCzB4YRcRhkrEjE8XI6XSWpbg/3I/TP46a693E4ytd8A6KQhFksKkSY67K6ixq/toMG1aEGP/tl+O6y2ZDfkRTsouZ2CBg0O80Y0TPVnyQeyHvjJPN++4Z1/luWQT7608A4s7uKSqaUFdReSlsrLCK5qmet/Uy7TferIx2MrLUluAQMtsnfQqBxm/9rYQUTAJwbq6JVcS4R6EU2qAmKghqESSUWcQPyo0tI+qoTmet/j9oFnCdXgnDOW6D/OUYl1rraxJKoDEvkMXjiny9HBeV42I9rx9CBp2wv6KqBPDBUX/a/aP+xhQUHKpwXuCEvZnkJS4xUhUIzFXBgxyiVQgpKJ53BjrWmfVZIkfFKlzwWC29RCA8oJn2+fGK14BSuUBsv1OInCJnfJoXZr0nR2AzNykjmgHQb/7PEMBbEzVCa+Lv9kF3N+Ni6/tl6k7hpEUNISoop728V+afKa0P6PUP7IWyXMM00zOiMK7TpJuk8hD67n2X/F8Db/v1uDfrJnwPDrguJVUl2jv6rvYuMJozxLWQ0fJnpWHUWKAPmpITWE5SkYAf7O8g1rckUg720jt5v1p6dUuK2impff2BOVYpghApOXG6IBpqV7QLdgxC5RVLncRsb9iQfBV6QHAMrcTroElflBupXuKWxloMAuqfJ7gUNOcvvTpDwWczuDTgsszD6c+1ujgdyz+OnMdemSgmWXuuKczkTfUqEgEq7YFRHiSmcjURiunBn4qMQuugOmtWlYG/q7nqWyKsu1GysATwmW2A8PlQ2DF889xFa6Qg++EXfS5E9ArIVxcj3TIODuFt1ItdbNEx6poCdjAWPg22XGS/6/Nena7LXFSOaqKLcnpfZE6bKHlLAZ3bZ1PFlTB9HDzo9TUTXUilCUFmxDncR7x4AC/ZO8Hs1JG7JScwETXvk+HNp5cCDuzg9SdenUVocr0qqTaM9fDEQmNB2HnsMQ4+aQSKZ9hsSnn1EaairxIKbOGkHIuUwOmpuG2bbPS4jIjA7Li7KIjv/TGVEYIdYkUWgVChodfOQn9d05vLt2ZCFVlOn/Bb9MsYewOdt4Pipiv1RvJ35VbV0PzpPdK5mRx2DkB757sLSkCvl63wqyUbiuDnjyf85QheUA21+uhKBIX3/AQAncXqk48MgsLDMdKYj2K3hMG4TUIX9+gqwS6BKqcE29cWpLcRH/PIomuwZi8kLe+xPvWGLCXEgTP3WmVChoxdSVfbhnVFgbfY8/Vn5viKRBwdkMX7SJEBWj3Ec9X2+7x9CUjeF92GSpz3qe+DYqPIZeyMzY45kzCVPWlabzMAJuenrUV4VI1qQvP+8ovBhwyfm1eYbhhMM9BHhxig+DMzqKySkEj/cgKIpWLe4UxH0hOMrt8UUz3RsmPy03fr1+d9l0TBvv8LUzHnglsKjiAE8m0Slr+gngphIxMXU5APUTPDyPfxt3XNWT2AQEL8BxGb7eOt/LTRE6Pz/bJq0q5fX+XewU26tVzjznmpnqy+eV1d8OfLgfgTXPVLORGO7u8b1s6cYTIUqzxkeD3qdUExh8Fj8njbpUHm061WDCTGYBKTaMwzvIz2HLknfNpweVlVLg337L+T7FIMLk6YywXxDI8+J7oud0VMdcVN9Nq8HhAaeuTAaubmQyWySGANg1mQOvo5IFziZ+Y5drseMv3bKk2baqf7kn61U/+wndvkhvPsS6TA7Q5fMtCRCV+JVKMBvdDP4gT7jc3jnOo1/BhlRicDtL9vXfteqCo0/NXHYhj9T0trvugXmLWQK19It7vPg7A95NRQvNjsaFJCsOfG5v4ke0bu0h+EsNQAjJ48Z4JQ63vRi6oYfxb5d6BfAH6BUnSdkFyXGkHUDJ2xArNSbTMhn8MUZa1XOOSm9xqRZGixR+uIhLhe6U6yklfEEHj/Lf1t48udLOQa5D2Uobh/yyMuPiFbUT/1G5/XZa9fprthCDeGl7zJJGzHkyQQhOp1m4nXMFE3K2qBJD3sQ3AdpBieKhUhQLv7A/4cgSXu0szedBXRtGQWFLkBF7oG6q3jyqHQJBQ2+hp2wySOQ8dqcK1OPjKUyaTLibedNru589knm27eQDx73hT1mQNIKW6GENusIvob2mcvUDeN8yZcuqkv7pRAlWaQh7yrqYps+qoNewNBdeQ5irbquAsgf9ZlEX/Qp9FOzN1OrLNffir4638nfwNZmuwWGySuJDJchvvw5WXxYb9ejhWThIXrEztkxoKqhsDmz7FfHu67B6gTSaJv+1y2mCK0sRJ0yHPGGKMQ41PEkdI8rGIhh7VNM/jIyAvo5vS7BabT7TONu/loXHDesCuq2K5AJ0RomOuyU10W/bqBMKQG3csjRgADSgbOJ4OGRKm55/KX6c9zTbLe4DjVhxXollrizIxnitDXmV6jq3+uSoc1S5mAFaE5lZvPmemAeQxALpc09IrnyF92CY8x467Y92GmIMWOnnEQuSNJLoFvb7UrouuROyzyYLaAGFLl0/0ADASnR++00iRVRCDJymp9FBOJOD/VDvJV1i2q/903cMN4FxHwhOW1JDC6dx4gIyVdmjoxAs2qm497uFMxAtIoLbScYoJQ0vem3v/KdohS12pbrTIj90rY8yV5WSy0aBss+rZ47ICatNyuJZ2oV+pezGCO4m/Tm8Bir5k824cLdsp/FV4u3/SHpCPvb95CuS5LupsviaQY0iZCEQOWXq7xJOEWhwN0jmtGM2341qgUSHSXoLmyDrLNFHcJyDFvu6REtKx2uJ7sT0tohWYiQ7UZstidfOx/Chq7R+9Mi41yIlm98HdWfSm8hlB8VSHFQWMU6ZKhqFD29SvzvLkbPZdxCqn8xntzO0OGRu9WLl3HXJaOg8pR24AASRkYuoSAi18xTbcuaLFFMx0TMDNqKjL4slPNBF9cPevQezVqLjNs94tM1zsa93ipKUmT/WTz5DQQ+BuEKeAK6HcYS0BOIruD0qky4S43RRlz1ST0XDYh6q+HZHxyM2Oe7Yt7sJxKL6FIbWcWBzMsFMDyYErCEv1JMId+h25rjRg/O2fI87/EPX9jlolpOh7xo0C1umBXVU2tgZ3kJoo331IQlKOUgzxw85trdft0p2q5YNLOWid4RZQu1eIU554RbGbQtgU7eldws4nvyVm6h/aiUPmMCqaEN5yj7ugTzbfo50j8T5DM0bXPw36DMJZp4iqUMrB7OPmz5jCd/Vgo+O/kIq+dsfB80fqmamxb3vjxKQOgI7vE3dyU0uqLi+6XPX7lhhWgR0lnu7DnjLPJhNgrte1jHSgaR1tbqhQoVj92PxnNEB8OzTevSsouMTLnY7nSlWNFiKflDketQEz/mgVxZZDv1tBXfZS8Csa8wMzFY7W1XBBDZe5Y+ByZ5H8Ec/BECmXE+peWYGLtvQ3igctMz6dNaDOfTLVmm7uxspffjPyGm7mx7x7kngKIIPSkBlgLoemoaXIgkqWseThO0Ds6dCX3yrB1cZA1WdFtMKQabH9sV9Juvx4JqVZaiIYKH37EqWzBTEyuTUOWBxdrs/5JeJukQ1OkIGPl8d8uF1lGE+qMh1Pm3nv0vFQ1Qrti6IFD17Grhp4CM2qNKWu7t3HD/eCIuRJPUy+3Et+vtS6REGRm4nU3MIWpP8Eiagd2FJYAzjU0hbmpOOTuKT9PnMFUEpSbtV+ti5nk3CfPwQyu9v1xs8SDK1lW7NA8Dkb1UEa4lP8owSQYHlexdnrq6gne3hfNDuPmx4tolWh61Ee/dtZ/l1vZEOT4Hn2UAs7letKDaH7d0GJHPuqwgFluws+P39EarPWPEg5E0eGXFxXzDqANq+p3YcLq6O1X2K1ttt7pPw93Dzjte9QnRXk4yX//xGbTWxjeLDMdNjbmTyUSB2Naf+Cfr3TyuvszpHr3Lzkym0y50YSPNpOfnAfgmAUdkKD0OmDBxTd8YoFlZ49W7/IQ7dYiEDPlA9Tl5x0BUDnxGpE+2flEQ81gy3HzoFjLodtThIM8AHXYbyQHfRtTo/pyfQ7Thxy0QJhZk7boBpHI1DEfGlU+eH7YIGdzPW8mGeSGm1EMgr6mtcptSgidCMJ3Ln36cCFbm7IOqDBspmpFHK2UccQwA5vYlUGTWp/ppDVqsIVVyigZN26O2GTuU2/6glJaME7azXj1IcZNeSuQS4ltUopwSPgHcF4uQi788NJy/E3+lfegbT8b29+Wgwwf97shVx9t9C/ansGJynknsCan41IRM6murssWNudWI0fAJJP+jSKWZvt6B2Vjynx4xX/I9v6fM8ZdzaysvR9RtXfAXNSW0MNUPdV02XsPCOe3xlBl9gONnnOFC1IEUD2VavkU2h2IJ6wIbSxizPxsblgX5dJ2AcFDUjptywjhTch3bg8wcKEyumiq4xJQAUhnvw9GDYXmNb8FoIu8dezt95Pau3E9rU6Y8H7zK2quQvLXd8l0LGip8sDtGWetR84GXw+7WI2krk8CiWt0mAXtGHXWO8zBK6GQVOPSsWANJEYf6ZxKarQkaCX8uupuLnwbKR7aDns+LUF+r6jjtmlV0BZH0hbLP+dvKBabIkKp0yiM/JqAFtwGgaJWAylSTVdaw0j7+Y0Vyen3b8IgFleIKANLLHcb0y3GTbuHBmUWjg9TTVRCuH4mRQZgZfjyeiOfHyHlYVA8cYBFRYL0bqVMEnRffKHYy9FpaX5sGJEk8uJ8D15sOiyjp4laFhHZfSKNQ6mo9lcGzYzkaQbdlbWKE9VoUY2RNeVOMwOQ14kgTrzKTmu9eg8jXO52++ucMae+XEnz2sNJwOwzdyfh45rdqMaR7z0f5MDAKKV/UzwhwHFzsureJri/1I6Wgsk0GXS3aV8J8FxPMtxtHxDD3ga0wtzZgMB+zelSUBAJC39Ya97YRS/UFSid8kvA2YfdRgrTIOx5P2GZ88StnEkNeDm20b1+toyRRV2jWLrMx8rMxIBvGj6jGseD/Iy8nfkWmemC3NaE1IkTOP21MeKcttZNUvQlb2lXkDdZ9IoASCYwRn6QtV+H9+NjHAuTT/1jtoALlG6jHboY9ngqArX0lc4SkLRp+pXPrLsJlLeQgDKcHa4vneytIYWK6F2EgaRuJKtdvyN/lAb46VsDEK+b1JkpdFYAMG1PXy6QJ+WJrCbgksqJn2CT6HxdW8zKYvwUC8E5UfKytkoCOHNCcbEvA2urWNbemYSS5tzZXHYt+VjmMgJVVRAxi4e9tv+/b0UzYQPvoFjb6jetpj8Q23TtkwNMqDj9b23rddhqF7GbT3zweBziffypnfoaZvZAUglpVeWHcgHdErnEpz2ARIG9ZDR1x1NbFmOCK8gqKJbrI3IJpz24ayyf8Z8Os3bhSjOFdPV4NgVpL27I0uALPslTX10VTILTsI/N0dzlkfLlHybY6CMBYfF3uGTdmOLOQqXIDPpsdWrWlXQj/SZ5rnseaIdrR9BXHJ6Qw1CnalWB2vgO5ZXc+Z0gpzKTvHOquOzVizwMPI8egkZ8UkNUUjQ+o/i8SKudbq7ucsjIoRDpgmENtXRyMHO9WgfxjWPYc8kZTE5uAo7rOXIEMsyxL2DnnEVvLUN1aUHmdVVrrCu+UXfx3XmuOypq2HeVSM55z/aEq6c2hMrLXdHxOIKOWzOJzpDtUrfBiJLcRuT1krUQxoDfTcbpVseqIEWy5aowWlR1KPU5k91g4LZGWLZfLARYv2nK7ADbH3iqw3b30enE3aUWxgM1He5kLZ8QsKk/+FLOkQQQoE6rAvF9iPiqapt2Ke9cL3YIr7Wb31Rr4E5fTbRbI3NzIAlX9HG+5z0xIH6L4lbfCry29EBJ6FAcZmKN5jK/5yniFZehC1EcSLp7H68NX39L/QBdD6hcPdJ9fgaEtXhvYVHQqcjAAXXVblEx3oHCNV+gBZjO+m4tD81Uz/g/IgAtUq6+GFwgml9spvsQ7+ftuMnvOZJntTFBP/11sN16KcpN8PR9H+I9qZGLAyRthit/bKkt8kFGeOfuxV2XhL18MmzkVgKYJfEjpA34BRI/rx999lZxNtIXxSnif8Bp9wnQUDALDeQlt5nm1bEPQAjcQZcRSyqP+pfZI9EcrKSXGpyMMdJLITF1xCfoVnlYx5uDETqG9klDTuJcnq8KG5wvNvV6S8+tk40DAR3budvqQ3j3rXx9NJf7r6E6ZyfwQW+cEWw1wHq9vKiFvmH4nIAFL7WNR/CQoDK6MYHvUkc4UCGNC31PeRCrI1jVlJ7J2PuS5h2DBbHpW646lT+jaEWpRJ1hQmkSRYcZ9hmEPx/PSF7YlpghLQjv/GXVOeNgEMOvWZjS8Np3Qnx70xCQSLU/lLR+92EoJQIOdqnhRTpQHUvwXKtT4ReJmLRT5MzfRGHBzS40dYgu5AvQ3h8/Z8KqifbD+O1wuRRf6ao1rTG64OC9b6/Jwng7Ri5ZluibGxD4jNEA8ZY+EyEphEEl9Xw1oYBKmFwMpe05pe8MA/2pJu9B2Ne9elU2clPMbOfB21thWgHJOizwvAbD57GCEcyQ9md0K8941qGdUMa3vRkYJUmoqOGCNa3ETTXY0jsZUmI1ScinqlYLzXbDEnJV6SoqLFMtjKPn9L8+N5HWT9jITguly1QUqha0HNFidgzZyqxo4VpFeDnEm3u5PXt3/q42VAYYhVvJRam9Lbag/iCBIcPEb3np7SI/LLh+pfXjkePMDWip39IyNEw6GHnB5a1S72QXMN6kXsn4La+FbKfOURP+o0wr73JakFAJaa9MTJzETuzpp2h0ekr1nP2Z0LPiuqNtgfyySJASshMDC0/V9MPI+52PKlXuGSnir15muWpaUp+QXfBHkefNhGTw3eShs3/3rb1uMjXw4tvgd0V9Mih7HVJ/HLJK9gdtpsJpKa05eDZAcUAhT2z4fq/eYIXWkQUT+sqmRzFKPK2guDmUyIOsaoSeWRN6PiF9qT8bqdF04uaz8H6Hilib3TiZb0qhYXsbZZkmH1HUha+qwAh+eaX0eCcqHSVe/7KUVjTHRAWn84Z/D08c9KALL7lVf2B4TaDeBGHJ1uihHnrFzOXjIXQYz03fHvdzOoRjrF1sP02L6Jg7Zacq/iPfhJI+mlS5/Aptcga29oe7HDAYolT3FXeWUaudMckGqwO/M3pM9qQkHPD1nfWaQy6dFnWO7u48vCAyt9vHQOSn4e6Ns08pbNmqLbBLT0ANYNstwO4eK/IcbbwdhRWH718J8RVj4vbdmX7FEdoxoJjwXF2/XbV9IgLyxTxzg7gSb24pgv8zUKuhrwky5du5uMa12rFfP47tY7evW8P9wnkeYb/PGjcKiEDanc49XMaPzXrSkOtN2D9yXXnzQ8F+nWmggpJqqpE2mykEinRt8AQP0rt1XfCpjerfewLiCZ8zAeGpqEX1xe2RY+a9OgcdPmawYN6n5u6huO+sBCnYvhqBHrmvYLuWGW8xN0DvJQfU5j0z47t4WCzKB3+FiMWcQsYv5PAepXsqvzRDZ/oCTWQGaQuyfMCBgZJ2HobZsE/ALh+XXlhS8Um6dEqvE2s0dMXOzTmOcumvSYAqNY2TPKZJUs5a4zYo91u6nItsmb12pU5Iv4cq4BaAc0D6Dbeskx9UzEyUBJ9ruONZAFPYr1QarzBJVnm40hYullKgYPvC1/nSZwX0MhyfBoQG+4WpduokitwTKyVIRJUGLmvR4Ivz2pvr1Al6G4Re8MN7PsIMKH8d5osjKYws66Ur3tZvfg8lOlObXbaTTA6KSHA4HOlgJDq986wuA9+MWDhHn1aNqtA975H607hpXYPwrKYeMA+hCCWPs1OEqBpt3ABSq+dMSZAv5DFlECaQrWTTxAbNDqXdvOLQE9cYM7VQX3VLbGAY6VWa+4YpsOS+3bl35gb8ZY4jeNhx0E2w89ON462G94D0zkS6Hg+GVKMMmOkRg0icKUoUPlEL9Jgy20DBqw4HA38/biISSR2DVgr1ItxDN1PXGQYNe7ugkfYVaOdfnYiMdFvBP0cFVKnpfPnupeTdnacrBT0sVh8GitIeGKZcg+wc6W1ZwrNhaZHf/s+Kpm8FtA88KGSKWT/MrqhxBqXDfbRQ8PDzhoqqMv9kW7pHC6qrcAqoml/A05uVChPqIocNMxumSVZOlsbmLL6XnypFkK3JCuIwfvVqWm+byI6Y6XIARf1L5I6ik+PJqL2gsUwxIxJY788mTVvwOS0vhqTo4dAE5LMnWvObJ8s55IXU0J+D0KzzcS8TszkXB2dMkyZ8uHR6twqgbEyD/HwFRn/4bSw7XyZpsQLeAO9HgSr1qbPkOoVDC4S/Li0bZxcKmgK8aZzL4IUjn9cAmLK2pRI1ezewnCr6/xNKoa+ag2Jm0YE4yNo5BV0R6v5S6IYO765aM+/VoVd5d+J6a+0Kceb0WZDA+w8hel8tDwt8dv0uRjWyrYJUxJUxyaC8EiJeTHc5r8nu0GXoWbZjP2y1BobLZei6VDIpbAEKyCX85yXfWYST9OJnE448pMkxovg+X9VcHW5xEjkT/Ysd5Pcxu6+N78WPub/5XAoOuVyPlENZRDfCbMOQcujjJnU3QO+ceoZu+yfPz5rOTlZBgDUUD4JXGbLD82RAXdt8vLEwIH/jKU6mgPF8JZgQBDliZDBeAisaziWDFpNcnALcUAEhS+KoCYyzuyvbKHmh1sr+ZRrfRrNVdRpDyw0iT8gpFbfp7eKAI6/ZxJ12BX91Ky1sZuYcfLdIqSKGhIG6rUjetB714z/KTULBzwA4ZJIW/gTVP9EV56J0dOldLKvnvQLYiFoE1a9DtOCk5sHLQM4R9uTPa6aJyM5cYTBv/zHcC7Y0N//K8qO0HoZ94JPaj3CivhKmneFzI+/PvQc/f0q03CzHuPihzxNLczar3yDAKJbnePJDsWHniUfR5SXoGijJ/ebOs7nXBrbCoQ/Y4MBf7Fx2qOslkFQ2M4mi7lgsS/tHROj6TF3WNNzfCM7NF1Fq05pkX9o6WWVVzDkp2KOKZY8YzOer/3Xg681tLDJjNKbXkBvqz+TZdOgF0ZakvfRoNCjTB3MjqYqzO9GCVOZD7GP6Gg7R8SMsZGt5xYcoDCd1d8PGnymEQl4y0nAiJ18Wab9eSqbYZ5fjbsIaUXxwxXG5KIlGT2OiG8nf9KdBqNRuuBCEdo7MSu3Rodl+xOl8gtW3PfyoU5yv+A1iPI5dmFAyBY3oWlbjtJ9cnNqR30k6hh2hEirw4h162c32LwC9dTZLJ1i2PU/4Y7l4XR60Wj5oR4SUYqoj84TrZ32N1GUkv02jpcSW61WvDUB/OSikH9ynQnzTzvDbyKmTwMK1jlcyOTfqV2qH9nF5yyCXqMrjv+kaIVbr1fSfEZAJye/AyxRqnF2nuRESK0jl2JWtNmdW6zfHMQC6Z+SF8oIqqSLA4js3BxHvEwJdrHUBwSzSv/5RE7KPoZWbnhwdkFgCGmESpIW6ee/qA1soCqwtVUHqXsqVBBVqHoouhBkwI9GtMugaL75rp0hYn4Ip1wz0xNt4EvXdy4xwvADzEUyV1WIDW36khQESjLpKzLst+t6AE17q4PRsYrB9mVJJ30fBD1X14LUc6YM/ksqveOpmRsiqfLHEKzssPuKMdg3aTYmVCLFfYFr6aDrzi2zVlERtTJM4DP0DlDFA3G5rpHLL/CAYsLUHMQpCU/a1jDv6RRL5cqC/LCkZFNZ25j9q1Q+QAUuFDDnXpuYbQZPCxAXTdTpN+OrQwMJhRWRL/ftU9KdRkQor8C/KXory00uw/g6TaHG9zkc5uI79zU9mIYE2Jb9HNzUwHn/P7emX44B1N9TFD2cNETs+DYgfySxGgo6KatrVxl1PK5lpS2XQu6IOu38/GSWis5IPffkWimTHI1o6ET4+OOHKPXdxNmsANV+lV8RMlIOYzJp+KHPu8tU3/k/7iLB+9zXWbd+jgzdNXnPp33Us4oRL0/cPCW2L+SrJ92wVnQTivoI8hIWjW/F4tD9PmrgMiKQWjHcWjfIGNo2Ul3P7S3EngF/VP9u7T1AU8uNaEy3uZ67KqLWla2wPY1RbwbJ3Ics2qgcorl1pfP2mAKQ/Su+n5OGyBLmcIjQNFolW1jP7u7jqxhvSZ54z6a+xI05Znne81N41ygA+BU+pPC0h6JkmS9cFFiltTCE1AgFJE7dAIFzmISo4UGFGdjDkF1aIq0lso98tLeHhwq151AR2nzYXqUeXSwMtfqWUXhCIbqqYNnSfiJs5VhDZ24Zx2Bf5+rJrDvz5tfmi3nVWek9gin1uRRbQfKUl6oWDuCUMSOlurxbaURVfPeJ4Ck2LePRGOq8SWYFVQwWHDjHG2zuXy3txobf5UQEKKdmlZ5Uu2eM6a6h0Fmh9oGpctALwrbAHFKNdmJwGAr7fz2cLim2t4u6suWRKAYwL+Hv29fR46YYkKtyUIZxgkkvZe7dRWN8OncPKJ3+WOfOnk5vjkS9n38uDuntAU/3AWttI+O+M8a1+7G4IQyPuUnoMVuJdbvPvIuRCjcKJbpK0Qf1Xlt77VK8PUZW27FyAZ/swP8n7YTma9SEuArp6ARD3gNO9FxCYtFbQCQcbxFSDpI0vKWtlBhJ6kqudnuR8Tqc7S8hIH66vCOINXfQ5wfEdNoI5ng1FamhBhN8Q5JczqLrv2env91HB7DNrHbNdcdwgd/lEwcb5WhFdXxg9G/hJqg0upGpffvjy8VIndKXnTf4tatwMgRLtiLEt7dQaLlOCy7avyXM9tDUYKxQRwZRsiOpqFfoSFHW7lzN2BpVVnr2GV8b/aVocpR0kLpUy5BgkhL5PRretN9LLnbtyQn2o0c0trgeqURyhOmvHpKaMTlN8fECLOteiixs/fbkEwFzEgMUQ0MynECJKruG2GM5ll0ug5/i8gjaIG6ajcy4kHkmUmLCcWTgcOUyo8nrQ4sV3CJXAqiHm7KZ/m+q9OVtJkrpSd/rmm29owRXctjts7UeYENvy4COqgvKh3KIoCWcBqsbrBNMfNiX8yvnApu1Qt0wzabmgM0ybGFAhb8tHqqLwpRG+62Ls9JgqtCaKDfAteuJsl474nZ+AXnpCTVKtLNEAzQJUnVFT8EyxMmBs48lijjFRWqGuMIKgnW1IBxuSd1kwn6k65UJF3nUX1xUvP6p9g5wPyIOCLrJgnKWBhL5uHI8gZk5hmqw7CsEM6tv/AdDnLnbKK12Nisume7rfyCSf5K9Yj6FJ4obfxqMWCTaZFvKCfgAPdPxYbzqy6U6n4yuDd9pKAaFpT547BkkryHDI1P+7eygOujqH5X5dFmZcyn0SKNFOyTYTgC3qJnlwedVpaAxQA3UdAcLIfAtqSt6xmyt4uNvfHLmNQ0KzCkuBJb3P25IGZoX9GOZDLXOMaBw2ZsGpU86Fsv7sxnrN8oNVWhfg5vfcoSFkmGYDYcfnzFrq/iKUwfld7/yRE+ssCQo9ol8I4HgrZ0Kw92ixxZ7E/0DYQ6iZiqCVPc4F4S7AkHrW6O+UKBt/HAltISysQx45nRtSfMm+RP9x31/GRc6XKpY+w5quDb9OpvqOeJa36hH23pfOApXu7A20gFb5vuS+HjK62ZPyKC6fhweP2M4s8C2Dqg9s8h7JxBT+IhJZHJ9ZUmU9VPOyGABOBTIAntdzbKOWeIyPGMRVdfZCmb7b/wg/fAKWyIwjaxvCw4JSE1XSrxqoraKtIpqZOhSTSUah7JCW6RIV+Z515kwyIHnU6bxNLrIGf8zXhTWIIcxdbgx4Rx2qTaAjy5warIzO9f0VfR0EysykVmEW2h1s5D0/7XDCo1CmL27+V8EDstu335E6ma759GaGywU7E2b+qcuuGLwRtnc6tOiq06bVI9piLI1bg16m0UolEVqfw/rIfz9RCwvAWBs2mQ51MZBWkTrQFQRLrJL1d8xqi5J+HDhyfEXvmA1BMchpYgVHQ5Mj/nwxac9MD0YSTV9E4KsGwpIodPvBk8pAPotkMp4M4JcFI5TQnCIUOhnz3mk1TUcwIPVdk9mDOJyfmFnhdxZrlNeuScXLCeajzsbQBEqGIgnp7oVB1ZTlq76EcJV7og6z+82PA6NHz7SQug27ebXvrKmyTMrmQMttIUJYlBOzvCyF6NIdsSLQ9nlykNAnyRmsfX6igbP4UaX97BMINNYsUfUEEqm3Tk4eXFq9hsv5rm366MAtkDkBD07BQ8zUkSYjB0pMoPISZXP/jaFJiSezT9dPM583HsV9ufd8y3n/MAuDded4MBR9NHy0NFcAH/c6jzBvaFozRc+1dPGtNV7h1NxV9wwYD4kEBRZFdoJKy58oQYVbESWHnJA73POw9YGTieYYpDJXlXdhm5CNU8tAycaKF6n3UEyLxxZeL9z8Q5nDTXp9iDHLFEnBOggzkitSfC5cDS+GpZAjeKQ/mmezKGmaAJqbGkgSP4KNp+isl0PJZMoX8fQaCW6oG23NcBt5KYBxrkrdtXIad+xA1z30lWXWLlvadgLHAjnh2BcVxJxXLErdV3bU3E1xofl+6qG+HlZZPkUrOhSsvw8sSC8dSVDlFefNOguGQw/X1FyyJmRfMqLU7D8EQyE3Vn0kqiMhe8VNgRDSBA76OvjCSKMeh8BVkoY4vAMg4CUCIv72NahjfF6WpZu1XU4YneMS69QPB5gTql6jMI7oYJMcmQYGxs74RAyTXyI4nPQamZEgRPIiB9cF5rKIjKpjoSwZKqMsXc0B704RpyacdY++xu8W2N+fCh2hbr330sIL9wJNDeJQNd46iaUo9DJOxgxXNQYBl3IUYABBalcIUrKgEspMpSrAT3am12MSyNxu/0u4+p8pGqN4jVLtSG9Ks4ndA89R2Sczxt0vy0oLf9sLqnjZzNvtJlXb3VrlxDanLYZ/bYciLq3+VjBgIu+LP+FIhj+yjzLVrzzwjF5tRr+CXf7FFdyucIjtq8s1Ve42ZHYxNTgG55z3ChOShI/AlMcIBq++CluJeXrHVr/YLYFzXQsa0VUhgfUH/xy2aC12gdYUJrg/wmwGV6Ctt3yjQmxQmBazn70HLZJwqlRap1BpQfZFXvA84ruCDKtx3b2O0zwizhjb/wiXrNdNzBloqHYvYkV37JJZtNV8/VMdWAqKyUKtXSFtl12BeHjKvF7oTn8MaGI7g+GUvhUgdyn2xwZd13xcfrKTgJdkRP2xyhWcxKl64FupQ18fyvom7BTpp86GkeFRjwHayiJzyB1MIRgkeNcon+rORgKjIv0X1HG0qJ015LZUemtfpIk8bRYh4jpFcRcD8Yn9LrYG4+GOjOQMx6PhsteecUrePgFHHotanJBPtosp1bAZIWmeshspE5XFoiBpEwWPCkQz923kJTHh8A2XLf+Or6HLi6o+x2+yLgSGg2lO5KTt2C4fSjKar0TSaePqNDG6acuJqgRSe9BAMiqhEqi+3sENMCm6CxKiRboRqv/rwVo72/zlJYbSHXfhhp7LP6G7CfnT6YDsSNF8bAftWmxhKD6GohEXNpvM895PJYww5DtJhsDfj4UYbrIL4vdCurczbx/sukRaSKyBDjMmrvwqDVmg1c7VsBoToCgw1BilC9RGVzo1Ay0jKJZlOqToWJtLIHRBuiTSGZcei91AHtYc+r5JrobEubmxb6gPJuRf9TSxqCwohQ/h+ugH+rZZivCfthH870J/API1etT6Ikv2loifsE30kqLNu2opwd2cPPmnvFPrPuvvCiJAZC6S+R0hQNx0YXae9zBQk/nFVDTK5KCu5yu5LNrxmZg5OVxLniapopqKz/ekFMtf7N6LNUlqXj/qXUxf82fU6/gBSZNYq36exfqGKy3ANOJbMbNGLWbEpVy/MRyWHdsnQoO6TFDCOpeYGtbdXnL9dFbwJWtFGCsTL/ZT62rBIMRH9bLK2n7ZHbZ9jOUTHSwJA4vN51VuO24h1a4uPhlLaeewSfWL/21QEzXifhRyA+KtLRKiCiCw1/OrnjSqAznkvlOHolnZiXUuBke2e8CqXlywzyB3DwI4Jc0Nuv/qZn/iWrrT/urtvNIBO0RnnRWrKQPG0VjeyuKthR/oXWAwIN6GQDeM5d4MVvjoJCuOB8lOn3f6sv8BVjDmagTCxakLuqNoLl1d6xrhyLXSx4v8DDvkASDQ49AFlexxY+6nHuASvPiqfw2JU64R77C2a+kuyfHcgw3QhYZNecKfNcBBOugovMCTugRCYD7rHOlPJ4ftEcdk94ncARc6HJKcoxITUSCQPPN7nnmaRqF6mFFday1YQ5J0y4zN5VyjcVvvycD36DgrpTjIoNaHufYRbtNf+6El61cx+48qy8Oq5nZNGvZNJfa31AuAHUhh3LOL3Eslq1QZ3l0UFFUA89jdT1VYFuxW5ByOhQmW2Tg3ZzaPwW/TL+/x5ad8hBwFLfs0tzU/oSbjKcjcfcXgCn9TGBSD8RNXqczUEs3hhNQ0zt+CXosxIEqMfNtJ4BvsWAsVlGNAQYFK/2ofoy5SsAE806FqsfWHGJQJz+UrX5OykB20IhCmaA9BvX30u2w1/i6rQDrV2Q0ficbPHdQ93rRsUZX47+y566daE8XVf5i6B9TQ8QuhI/DhXAd04rwiZnF7uXF8CwRHsotuxQpWMctlY5M43eLRiCGNyNys51AsjfmPm4VhWhjALcoikBvx7iuvnbjlLUgc7hACKoL/q1b3XvTOE5t3/rHM7/QQtixQOGnzl0iWHNcGmQxWKKHvcdx4+cowh9v2YOtRmoXu3S0GHq1fJtVzTm3C9hRe8FhqE9FodPcNOqcXwzJO+4hn6co57bMFJY1+k9JxprmFoD5CAei9FMu3ubT0AeiAenHmnkkFuEQJWMlOYbxdN1uj56HzpSZXkGeC+XAPoKR7fOv8tm3Tco5PdD0Km8Z1wnOjcR3obD8r3KGLXyZjfGZEBmg+yF/Y7dPtwDpnIhKrpeElVTg3yneIF1aun8+ZDSSHEn/O41v20bKtCiEQ0vl1WKXF1sqKnzyeCaHObFOC6Dnzz6zX1rk83TJXFhJryznch2xnvZ6KpUjn/Di1F87HhiOr49f7jfhEPD6R7Uq5bdX1NHErvL3fgbgnOw/H3CgTihQDCojs0NhSP7CStmM9zaTOrGDz9iec2+geGZa5zIfrYRJTmsjxxk1U6tJpD4ukhTCv7Wu0tNfswC632nHYndi5kBrgFuCVZUG71fDBuAGJ6tWrDf8kfO8L1HhbEm9mhlboVUa6VeENHc0aoKrxPTLTqI2a05UTosB9SuiGWQWUyiMdmTbaDgIT/d2wAV+4CuOuyVkwHrcMDHBuzL657hG1io7hUM7wIQCBrAKgAMN9UN1P3d7S17TxYKdvoJgxZr8XEG22abnCq+BT8xVOsMbibWdASG6Ft5Kz6IeF6aRTV6tH+cBgHI1545WTV3od3FL9nQdV0VMo7jCRihfLWX5xaQFPdWtowhkh/H4pr+Cl+/eisf7DJ+2EMR5yUbnWtBQ1qtQEqKvRNj8FbpjR9lcvT76DLkENISHxdskfTvNnHoLkvMri7oFGeNs3JftwFzg+NQ+LAmt5GDYs4uMdTZY3yyORHqNMsN0wd/X5gN34lQndFohelxln5pZP1cp1y9CmV2A3yqvcI4MNlDCqN/PuSWuMYlQNVNfhIt3wwswptc76n9ek+cF2cMXvYJbc9vaWTz6n2TNilOGsVXcJ4IycLD7fcKOEuX43jeE4KWj275q/wgM5qtgaC0WlFwGRD0f/+jORyv6XXs5bEuCtlMjl7ZOV/HtsBCmdchFDx0d3I0cmBHdG+2jUcqqyDQl1VKKYUCQRsqB1rQIf35KX0E0hz9EHfAi3G4W08zbr52vv/1dJ/mrVvrY/Ms1OY+JN0jqrE+C8Hw2anPtN+BnnOkVyMCVx7JMi7PhBq+CJ5YckYNqzZVMzSb3uDT/j19V5q82lcGuef5jISjQdrnYPXRQ94qkobV9hrpLUM6Ol7smI9YDNn3xuYFZcEJ+RNbaSj7lRpL0SxMmfOlCXFZaRzL/3Tj3WWXC0L/kG2oTrDrlpllLvZEv2B4gGh+YkNLMqJbc3Mppo826182SFmnL7jJx7h3fdLF4jepPU3XNqWeCNG8hqB4iQ8EyDiZnGeGN4w6Kor0wgBFhHC3ancXrQahtq76c4htPBoVLCKz78E/o3ECEsCQ5CktUM8TOV+YLg4Geow4Wk0FZyvLhbJ6iYxJIuz2kgMHlQWMBYblL4QMBdYS4oOnJ1NgEPNQxtDTZJ6SLBh/Cqk/DMjMUc86D2jopBy+9RsTQhWSHR6yZff6xRWETBywK1MJBQi3zGoH5CAoCHgdmnPxtI79aRnYMeFP8qBUsT5owKxcXVlct6HeT9vKJVlLM2B1e9QXeKT9COsPM77WFiAQg49y6KSjXIZ9svEuYhj49+eMXOAuApAO6irslbmg0g0+LEEW96sd+6tc2TLSc5Xjdv1vU4TCDbaQ2ThuVaN/vbLz62+rnYxgJmQFCmyviHilyPmJLNbU3OQlLEKW+jfmFX86oZ44vwKfL8iqOxqHXlLMmkz26OIcRHtKc4Gy34V0DeKZN8C6ruyQCghSDhFarC6FHzCwA2vv1iOLMmd7R+5FlaZWps29dyJ91WYUUoHrZbtfvCrYRwu62gObVJNJCW82rpSi14aOuh/PtTyVdPwKt3IySpwwAQhODMycUdWTj2uT4vobzfdalspOOPzPjYDqd5hzuFLzitQQh1uDBGRf4vWpN6DBnKf3QrjMTnmn32PHO0xegdwtKYOZ2OOjiYK5aNyzCVLx8lAu7FIU9tm0H1ezFYO7C60RKccFhirDAqIoqi6T8FHrHsKvniqP1ycu1YvXKA3YMLtwRNFptv1hA5NF3uMdeoH3+Vf6Jg3IpwyRtuL2kSYDxb5D2yfmwQ1DSdZ0Tjt+bStdNiQll8uuhcml0HsJxmEE/KUOmx0A7OVQPBzGs0fl9z3PxQ0qXHmAlb6FI+YxixkJUb7os1dVjLO5RjTQRiYZK4I8B3HbZUaEfhhgXxGFpl14+590GQDvOsEDzMOUzrdnnruPtUdl2cIRhRFaNSXiM0rCAuCiqFnoHOSaMIbCUE4Jq3B73/ZHf0NZF+ssia7YryrJPLB6b7WNn7Cw3pUdLkOdAI4EUVCtgN2ufQnKlWEOkpw6/s5didy9AY5c/K2+NzQQJeBjtNY8FZOvG0zLQPWfadQ1y92HxAV6v0/B3SBAYsllI5hFH9j+oI7gKtrS7HS6POrjSVXNDfXW5ec8n3NyU3O2cwE9YJYqiAjIzEJD2V9mufh57F2ixeI/QFvz2kgkmLSs38iqd+qyiUz1xM1fL9BkW4zupyTeiFeIUwVcHXGQ9ObL4T8Q5pxvGtrTa3nAP0bLrkBSP/VIhXG03l/N3ZnzxPYfpz+LoQOmpvu/armyPOc8LCQCHpHl0NIqGCpafpxGy9TLmJgFqHuw+/i0X58HRKQrTjOjV/OhVmbDrjpx/IxRfVFAinnlEzqJ/HRHVRBYJ8puv7e7Nq6jBuaP5iJ1RViUCZL5Hah7fUBIoS7xUNS4QsW20l6PEcruc5uoKLr7fxBPReOo/TxLaSTshPX5YUz0oIdwBA8YNgFw1wDBTn8D+JnMqAQMZ+eRVXyoxd1MtiaPqgp+g4tDe23se9JSDo5wbLS1kJKpbcC/dGCRyOaMLG9S4MCuDiHpRw+SzvAtxjgKN/CUT/8prYr0MiwhWjEMzjsJyz9UiAeVTry12ln+9yR/tBuxVqExMjMCKkqF4X54FafBcN5iMIUvkeo3+Ee6YI0pqSuOo45wjzwoAaZKBBSjsp8fzGSBFzWNUVqitHkhZZfch65cap6wv/xYF1VdV46AGSudHZnn8XpyR+KaqCa8JLLI6PXwmLHQNK/v2Kjl4kFGY84a5ssTiWChWUPMFezlSva3OV/9js+B07K90nIoYNbCZMUHC6m6lrq3H5XwCFGcrF1q5K2mFXlz973z0zTabmGPsfPAAHeWgK80+Hbo66If1ZydUAOwsP0ncVxQUI30ZB2XUxqG5j4g/AOfIj0nuSUUx9JGatQbUbU3athKreTAj/p2yZkupyJKPQGiqFnHtLAegC+MOSMmBNXzXj/r6r2BcIyQA+GhVpM+sHBegXTPuDBLPssdwenKX+0VIz4JlGPDymRh+L8KUBbr4rz/jaYcAvhzefCbFliMpY45rRZucqPHJ/PmOp8l44pymIb0CfEIdweWNxlzpmJDfkubYekAmPRFf9chvvjzZT0RFugZA0X7Hy2p0ZUlCJp0IYXRzAKpiEd+xh0mRbLqavZufNNWhimYFNFMl8NaZTBfGLGnHhjo1croCbJKDKLXtjGoB6d889XANSxZyVcSsSfrXL6oTmHlHjZRpILFi5nlDik4oI7VBFMUmMaMSKQJ++CMBMRrqnNdRuE0qVjAZgy97o5k9ojvyjAepKA/yCopyayAdIDMxrOlMe5dpoQ/T2qZMtgjN8Dj2cpdZnoFoZ3IhRo4YOgq/FdfDvlU47phzQPlUp4PAqvx1yuGDBkiqI5eC3/Keeo9kAxMidi4/Lsi5Jf1iPeUrb71yXA1fE+GP7HlkVgn4kgG9mcKBuM9uJXCWLrvWqDVlo6d+WdvmDD54aFjcVrO3IkZ2VwF6y435ZqDYvwh/zxcemWTDdXFT156mOdYAnHuHCHgCU0EgLz2vX8ua0Q1vT7YA83MO959KGCeNQ//NrtOHO1prhR85WI6r4NAo+9T7ziVDmdQ/zCJ6wzix53kWXjk/A+y54fnsATOm2sFsNL+HRumqZpCNiaMTLM60P5B/RrXBsD4jRoMjEqGW6wpoXetWvgDvEGfJbiUpGpOXDADnVCCS3fSSUHETXBmrdpCAXNdv+5hCLqUqT67FMvWvFOBDYaR4R7wot5r1a8tUhQXOi72q9qjbSJlU8YK8BGAh0UR/taGyVHSa6IWx50zt8TKBoHXhheDE23c3OqyWVhSXtJys12rrXu1m40tZ9pvVxw+ZS6zURni407iD8bnGtwVXhtvSpdEGXKfMyMCsRNJTZQ4Iq4sfS82nVPyyqMjnjkGjr9RWviwhg2evf+fIh7C7DVXo8RKycAfPCa28/TiP3uDx8NGA5PHhhfhEvVXKLNjDOXQUMyyOVProPWbdBn2qt8VoTEEwzECeDOfHE+ltGRQROCP5t9sjaY53tFZ/M52PrKRe0xw73SwfrWDfMV12DFaVQ2DtZp1pmqPM+Pj8JwBQ7KLg5TthRoY0SeVu2ZwKWxGn2P4bNxsHfFI1u4P4olgvewD5n8d38buc/MKJQHCxwgsZySFnez24sUNJw8dVLUCPVhOvEztGnZymZZhepGZZMb9mp5V5nUnWr8jH40lX6IVM2ZJUV514q4WDJJ0whr4vYkQMCgUKXS77euXUCG+zyMPgIsXfjRPUjZIAAYq8OKvsZg76aZewyje9MGT15Cc1GObyvIglCKol9Irah+i+QGx2IegHI8Kbkkeb57AWO7Q/ETtaHb/8bCF0U4DnSZ5coGmH0GAG0MfvZsTN8OFYUUwBJIixegd1NjEK+iRlowDBP7d70T19MrXt4FEBtiQL537jlcQdGQsDnzQalrfW79fHJc6X0Uye5pYxUqliyHBc9Ss7hG1zz/+/vAWSSz/LBGJqn2pwzv1voByhRv0t7fRLj1LmdCTIjGhjmgXMcLJt0EYYpsPJEqDKZCJ+ORJ9uB8s/X9IoOQcPkvjGZQKG/+sreWDjR8EUkHoQCfzs0o2OdrZp+iFymsWBYfuDjUVYhTkML7xmthhctp0EXXws6EhlkhtQR8pFYxcMzpkvTYKK/qtO15x45StHTUMMfpNv6OOHlUQyjucUWWuZR2C1rQHUDN6EGXYinaqQeB9v6XXu4MHQK4kJIzzZfntpWcz1Oru2Op9mlhvomsPCwDUOU5sJoON/6p8QlRHtXwX66++VVSLS1jdqvc/r8GbmMkZp1r92NFQP7bXnC8ZimXbVi6KLsDLBavLjQMJiYzTXxmznCb/qpTrfkw76Gne3/T51/IEwILaxXkMiDXFydHh9V+EwZdgtPubAHlaVD7dnve8L4WvcECpr+t/7x97yrtvT/a8GQoBj6QCDVyHjSG8JdRGstAQUbpHx3Nssm9GQDXrAkoB60cTAyLp53CT1Oi1EHx+SXuJ+yBLC+KsiB82VFuR0fCslupQ8x641R5FRbA+r7XLCTPhPSlc8oRg2uKrBnFp1mXMrCNNCeeFzWMlRClHZuUPYHXyNHsokWgDJ1j/zm2N2kxMWswnmuqx3zeva7PezA4FMLtWo56RlReSi8gu+JENWg8IDY2rWvkSF7+Yce6UkdE+OeenvRplF3nrSNjUTG2Km0J8J8bdY/4zHeqEfB2VYstgwqwokr1w+Vyf4S1d0RCWKt2EIKuiqZUK12rCtYYL9GbdrXy+aqAuo7UlCORUnQK+k5Xis0sQLhc2o3L5ywh3uFRefkttzQdTBYGRmlxNvzSB63Iah5O9udPjVhbo8bWArR+9BUILA6c7Kl7Wxs2QMs2CFthHc3wB+ur4oC4uSEr6jMJpK6ZGKBIcwmPnA/kcuPrKaqQ7HOZv3w1xHRei7xLbR3GfK3Hm2m7s+ENoWBJ6240JN6kIDJf7E9FoK0aj+QfugHDHzWMWbEeUSxXnRV8Z/qPcm6I/HPsEs+9E2nxsikgbSXGUtztgEmHT4/WmI24Ox5TeR/Ch+7qJb3vhuBUxEQEXfQ5EWLRcmPtOSzSFRzIwVm3C8Tv926NTiBqavG1sM9pvsY/L22bwaB6ctmBV0H3vCdoyG84n2mhgGAgOGIE1Kcg4mRvaXrlGbadjVSk2IgWGXThjPn523zruifnu6heB0mpxa7s6j+VHecM45rtJI/b2samuNy44uOcy+E6lSr3tcRXgafoSYBVumDlO1Tnsj0XsrJSAdYsJM2egGeB9cs/9UaFXYMgxNpL3CLUp2N2zfOJ61KyOlZKMVIDCRpn7qnPf+Ei7T/llgYHfKCWocOaOv62KXwqXj0rqam+UXdIpInFJ4QWtRDdpIaq0W2skXjHzkRN6o3YSQd+fsHMHiZIDqo5O5ySck6rHEtsTgjjnTs+V9BjS5RvIoAMH3a4wRzfNx1qoglnbTGKMt4l2jLMH7sd1ArSBDhIUJc/bBP7IL8r3fcAxX8cRG6O62IpkndQWTDFfeeGaj09tlM3UotQSY6TbLGmi8gRunu6cDy2zzXBYQSqBpft5bckoyLpuNSEl/V1DHhz2bPdJu9F7HYsPclhUxh11M7MMjLr9au3qMZNFD4kGECaxO8iEM76t7UWZYmSPufxuQBa1QYjcBil5JF1DL3uj4FRYXCzL+L0W9mZGAehSUlCs0c9iRUfMtHQFGFROuLk3EDB6650s0QpjeyZ9gFVJlIiVXko05n8ThIgF6KNz+4ycJI8lakuwU3lwUZZmeRi79kxR7oWetxOnmHOuqDrY2fILKzK7c3EzwOYSPyHHdOBEElRcR9VNQJM4ZgckD/bDMPDSfoJvzc3R0Y3irDQQQSMlLZmFA231FL1Iq1F+Ufcl/QYv1PvDCRQ2jM5+dI3aNGrntegdNsyLuSHeO4hCRn7saARPPbmfVhRZ6JFlD9vl4MXNvabGf1e2tBh67494s7PthYzAmHKpcXNcylXEymZRwfei6p37w7JzctnlltkyN0X1M8cZg7y7gZuAFN3+2GQUlwMlhYscs6o04IxCHqA3AwxbMxfXcqVE3yHQfUAd4bUPf/1n4CAyjIV0MTIohQx+No1NkYwJDu2u2xvq5HOuXCZlx6v9lNggXy9dUjdMbssPSCeD0oZGlnY9cYLV9s0QL5tcpL+YIfx340oIgZFrfseLmI2NqClnXgFSXdygocDe2BsXXcfe3penYj7gcQ2ThA6bApxR7UWnevLeV5coWwvEgsxj/cpZm5A+6aWdpYeLzqhKlFtGj2WL+FsLFA/dXJN5zrcX+HqDUX+DyBtOoVgSDLWbKOu/kYfk9lb4k0J3ZtTcBKnjhrjXA/mTkD47+ndl80FKn0srxOJb1GnloWNGM6vhj6oZ9Tsg0W+Fe76f1381Xt6xcDIgJb89vzJHDAKibPGrRw3KAaIQx0JN1C27GTf3jOdtDD87TrrXtyEudSzjcGsTgkqFbPS5A2WqiOmNUSxJhdyFRdPQwTRUTE4n692xG31xcEVsCi31YE+gpQaBOgZRfxfbu1iHoF99D6hWZkdvv6bhMeFZvS7Om3f04umxe3Tlm5cCNeuWwlla09zncMpWV2CJkCAJAPkukRI+xSCZVlVryQruiKikp/Au6lg67+St7FHY9rhA8zupDbmmta4FcwIVOgQMSq2LyALJCu8IfMiNRTh2oxkpKMBJ8c7qNjKyWF2TBejMihVm4KY1Zr0u7cRcREw3GMU8qyWs6jO1A5HzSdhN4K4E+LVMKTkNn4fqZnf5LrrNRXtvjPcZYvyx843IoEyvvFagvA9nOWUJxK4s953qnec8pLhYmfMBy3ifsjUVSJT6B45eHPjsoIewgUsE5aL4Xw1uKwsSvuFfZRVdoSF3vJoyoRWigEJyg85NkZnP2DRPomQNhyDjDiwviKRXP8phAKtPqCEQ4LTwwb/n0pDQIAgAq5X2VppdgA6pnutE7zNdeOj6638ey7USwNDjHhfxy0gYZbJagmx+HZwWEXnsZnXcyV5jzdhNda7jMqaS+TL+7lN8jBGxeHB5Uxus1pPDU2iPMFcAmGQL+WFU+9wiQWnW+l0jWMgXofMFsuM4ond0FriHwv9wl4Q1QQbQZpw/0kw2ACjW/gGDo9HYMoWGVPHLVP3qNPaV3Z6PDPnQhU36uhE+m6no/SlR3dF3ATY+2xYMcYzgEJysaFTlhbQDe+CP5bIVKHE7te6xOqXj5G14JJa2ZX65EwpYrONZeyZOF230wZiDvwLY2QyuJj37K5r+8lT+xpkyCkNDENLdHRQjp24cKOM+DpvfoPnAuJJqCJF06F0PGb/StZJyWQWj/gbP93NU3A/SAm4nW7sWAn1W5B7ByjazusfmA1Qjll8HVB5aCLwToVPSXrdPyDpiY8V9WC/JYRV1Uc0GVhPuYto5JQD/3+7BdUEvldhQW8j88QX47CPYwTdSEA4I2dtsKS1dYqAEvohiJKUOSYJK3q7gFCi3mCXsaYe3ylMlvhcA5ATqaWPyxMdb2FDMfceI05bsiStyCYB35RkPMxSbOL+Waqj/gFy2c78kPp03dn955AhwXCjnPGhmlwW/KMfcF2qjFMXCVHCKpWw+Nq0Je8TF9sBMR9HTFwXj6SoiT9qghG1UzHjLAAGSfcVgUh3Tq6AHZGTj9NJwuVvUQJoRooyNNi4hnrPTvAbj56XTj0nEdtrPvj66OomZ/LJjQKJkM3tloqI0gM1ppQtYG+yLlegUC4u2MCuolXpzo/rdYz3EYIPW5IZROfcL1JZsamoj+uxiL2d7gvUfqgSknVBiUKKc8nJYCQJTbBdqR6kheTq7EjCRjDd1+UwdhuJzppbuHyu5zEW8RGux/7Ls9XqRV1xAURWM6sjDhaBnmkItwoGUBKiDyi7a+il4BnAfaSpmC6Hgvhu0YOUzucmhxw5FxX8ASrKembCe4dZAA/RtygCrqGHas2WunE6NZAcGkVN7MjICllKVfk8u2uBLF0hFQECvdn+QgH+oTihXHy1IN6TTUM/BuKkqkOw0v1saDvCREMOlO27kzMTplSOecZgezVFGv5SPU53LgwXjnUlvcA9noMEiF3Ul/YaVJ2fAA3Pl21zDTObheSpbHa3f46HlJiqySc3fU9qVsur4SYBn0i9/cj2Cl8ybTq+lqbNBw6JNJYGwqaReiUKsQIP8VdLn0tqxPZWDlOH+4rJ2G8VN57yGQhG1C2NUfgZmnxj/MJbhkrCJauUs8vBQm9ty1iRe7ofwFZAbwdRH/jQmvsOkjm/lmiUQVtSiTnCYDC8jw+T1xfOEXmVhDS9rk/FKPo6C4odNBO2fVdxU0WYqV7eVDEDRRRfnndrcQuTBlN7BKTPbvJbEGZABSmxKG3Oq16tJ68unuWWxNv1YkTOeKv7nwbi/sEvRZNkYbSyNUAp4GYnEfzCBddlixm7eKxaMCcTkGogSFJClMS0m8qFFHzBprIdDMCyeDQ6u7FpO5oeacdZ23bfI5tvyqfRlj9zj/JpMvVnAY4bYTIxJvhmWBeMKAysV4a+JWKlqQ8yOKay6HQ4T2F4QGhWX1UBJfibSjTDmtmJw8WWd2ejUQ8gWEhc5xEfrim/l00Jy2jeJX7fKJhlHpTdILpB87q0OBHuoVaqWVfQazggpew7FVFVosnQlAA/JUw2RhRzpEaoFUACqt+7YSCU+AT9yRt3WVU2jnCkMFS/VeGNdd3FcEnZUTLl2gthCmLrCk1GZW/N5e6fWgHYBdSLndXYvObFFsGa4niJGN3N72fJOsd21yqpdKnBAZ9OTf+EvPYMwUq9XDdlh+ZqKfRCVHukgRz/1ZOgAS1ThALrh0xZ6jziY2vK89xrs5lzRiEBTm4+bJvCyLDr4Sw9SYm/1rZ5ig3VSb7g01k0cofsKOVrAlKq5UCL3Rpiq0QFe/zmXo6OvS5G3WaxBZ+ZYmNvmzCJyEuI8m8oV9cfl6xx+ev2FEMWUGxhtL8GlTG02YiSLcYBv4Va0+bBrs5Ik1ahVA2Zerx5tKpcB1YJUV4dhyl8D0/0YN1mDLbz1/T509yduNbbzYKCV/cypypQN0bN0YZg5duloSdOtkqvbt4W0TGGeOF1KbgAXWvJYT5Vlh01yHx9Ao/aGXEKsyjIWo7kBPWVB9NtC2wyqYkIZ7IpbVM1UITcJQVdk6F0h4uv7/a2hADSSzSqMx6B6uXRo09atp0Ni9fNiX1MWioNP01hA/Rudl45xiV9QmbSf8g5vunmxmtfy3Rl367f/Eh5Yr/5+rY3AJ3TkQ3uldO0xhyfWJHOX99pcD7LhkW6rEILawnaYI959+vsEgJoSGbfgGeMEKztSVsI8QK4IHtIKz0FA/R+98zZzvZgD19f1DlQ8wr9f7BsrxvntJ9ZOzXv4ynYp1UcKJEOQtpWF4ZVc3o5gwKba6E2UZKRD9HiKN9BB0cTfDUaqi99P5ceuf0P6IifUMMK1V2uUyrgG/Hv7LtDzed281i/+plOIFDWVCaytkwBogvk3bH5c6kHJNNJWikgWb8TkTfSSM4IaAPhfPMI+ZplbQS4DzLMixfMwMWP/KQMNxI6ojdfn16jv8DbRHFcGZUVtNqiX7SrvCz9Z18qXQDVMYwZetKog0Ql3+4TS7rcDYotL9/WbUyQFRP0OVQBybbV91itGkghO2OWvrAO6vTqCu7Hvip5BR3G/mkVX62dM3bSRjNqGeUJU0kFvaCOijvd+UEES/XfQstMBWQ0Nho6WXUFMy3OPgPxA8O+HDwmuR0/1cOWcD5pFfOkX6mezjfeiMR8n/xGFlPl777Sw5VQeVUowtjuXB6wuWBAzj0l7POw8bJ/9Dd6EzW9JfzSZ7WHSRFNUOyjf7k1TYOyUVUshxClePLwlawAKfVHu69ZoBcub8KV/JWOO0zSdQk8cvbpiikNFgJP+geBtIEEeL1wlBAWJzlBpYbPn+KCkK5xyy+ixXojSPo407b7WALnQVYrPgHht2OVEK/pNy9M9l1eXoQPbbSM07L8tmK+dxwkqYuQvYHgbUk80z/3m2Ytfi79ssNp7Rqn3OELKnO7nIe9utjmARn/Zx4w3P+pwmQdPaUvU7NjOU+htdTLVSdSuP9K61P88MQcYvIzdxgI5JggVwu1/tnz+pAWxjddZHGZbsVFBWQbORCSOlFu9vOrTWzWJ95KGpgD0qW2VrfXJFRZRzLHFL0JVHAluJsBq3gahN/7T5YNe8+0k/mh0H5EKx5tHInA/UsRucj6DABgURtWdvyaEVmLJKs/VGXnZjKqA/WFsYW/YF53Q5u2Bp2m+2WkMRDmZgsI/XRfb3N/lzkl3g6D+cDyVrtvX1Jbq8GQItUWijgCqglAj1SRKA5A+vwrgdM7RhEalonug1l+2v6hl9vOhcD6hl/mG7OqI5vfyNxSkNxVqnCr4hma9AuBRqFCICUc1OCgpIIjZEH2YZPHhBj9SQmRZfjw6HTUmkdatUzfZPCQAwDTlwwlPK/nKOxSwAx1dcwAo5aRVjBnNzZSXSosaM4Thb6rkUaSvFw0uzlPqB9M+m+eQ03u9RWCHhSfDH2jBYYlJM/ZUb7kCJkoN4VvDQHvLzVyM3SxxQQNF9jcretFf3QfKOZMGHfgwfw4IF37QxinZzQ/fGeOeEV1llbmdWQ/iDNJNYm9jl2Gt2o9GvYpOZsi+SghvsclsFDXKrFLYJP8pDIthFDU4jUVJdzahsL6ro33aBbcD3Sh0NsnZum8shivwoq3mGuPZoUoFa7kWhHG7F/X099ZV6hdRxyJNnU3p/F3AqQJMzL4xnKqvP8PCoc/JPYKvC0i2qC9/i9tlpY/LzuIYyG4nSWyLqInWMe+MxTxR/ZmYmxLaVMEGIDCuAxfxABLgLyFT16xQWEeNJ3q2r49RCBhE2tQiQP1VAGowqEZlFzYqhuuhXSdnN3fUoG3YPYbtCYI70L2/YvqhBM/TnLTMNfy232OHv1ugbOzfWpseCnr7SFw+UlfMvhSee6/JnOef2eF2vhJRgx+M1Hr9/7863cYt1KHtAwdzhN9yrMByvv1yF/eLPxPirETL50stmHOzVWXonOGYyvgWNQxqDkBIFwXAQLGohiZQ1w89YT9Chr9axZ4VmYeEOyYxVfYv2XUIqwugRzKRaWTavYjpU5Te/TZsWyguYsgCm9iXxpj69SMgZdwmcmdEbs5yiZaCrispYVZJX4TQGJD8W06eRmPPG1ULq8jD0swKc20AKqn2d7UsMMzv9L+hqwcwEFAZIYYLGvn/YYPnmWCLt4/L+kZxibqn66X0Y8h7xZsVYo9eve/pjzSwzaiq6j7NZDK0zktI52KqnkPt6zxB7JrQn632i6lGGjg5JsvBfH0DyKzbqIYuGupW3F45owsk4KjQQ7PppuR7GtPyFyx7Kv8OxfKIUhwEevxx7kv8svR42cYzhFq9HvRkdM9e5zLwr1B9ScOPFf+u4IqX6PRe3wFbnOd7yIFeh34R85+KLJfbyEZ3YMFTA1+vP7jlJXZKmmXniCHDqZkQEyO/AAz0iXoeVm4WRPXZ4IhusmltsjL2Trj6BtZk2ILrOwEnTIuf8hSpziIhubf9oGd/R6F4NCgSLoBJPG4FhGv1hHQVN4sFufgvBZwWnCD05UCpjWl6x9uCRcMklsrnkVBrnxCNuIHiuSuswCMB38KGSVQ7I5gpT1WpugkctJDaRZAO7KK/xyrhXBsPI7CPqAMzVHewu9iM2R87uH65/OWlTWrbharSlUarxkQ/YZJs6862IQNOpZsAYuQ71rqFh8LuUJSRFcxqahGx4U44mGMDAO5FVAH6nPCQu9fzMFh1T2jf9C6svvYSJr2FHP+qOjh0AFUR9O68mKbxs6F4idm0Ix0D/E50WJp3JouojPMMZGUkkzwcA0X1HfbGIJSCbj+SdmS8AF1kbUUUqUivvwQgFab1GCHNBJh19N28QJE8h9XzTmli2xrsA3QGehm/umyvClJEcJE7DiND/uQnTi4Tv1NVENvAr9YVo2uFnBroYaGVsYZXNPe3occymF3haGSw9Tn9BkXeXmT9iLAPb3oBTjWgmg95h62ZptHkweQycmhkdrxrShiqmRgkIkrc5risix1DHAnl4THo9nuEXub/hFugqpRFDpotevdxrVVpBCd660M7Z5NeUn8H0HltkyCyzzqkALdL99L6Dbf+0UCNHLNQOafCE6s7lcTQuDwhx0dvXDs2//ErMb0maFHv7heevID3vgAh4QaBYclAxS7EsDB4V1Xj4wLUZjHT7GlHWbF6ibL1z6Zc1ZjPpH6VGo/kd/knYNlKd0pzXUpCK2G+EevCEHi+qddBkpejXB/2aDf5jn7nX98AuMf2zuvfSBqJ9TX3oMFzzmS1V8s0Z+5KOtoZNyYvKp2qy55IqlD5i8M+kS5At30Kyx1+XqyfVrBtXz801pYPxxAd+7ej2k2Z9bKfYKSgr2baQyvttl9PXfuk1asTIQXZ7CBnfvJQGkUbu1itYZ78qHpqKYeJ8pOc7QihMih7N7+A/J79kwOXpXwEkJfWQLOwOyoOuRaSuH7vSoaLhEABzc4+nj29EBR2GgYTVqXyk6sKuasjyJr4wg2jbYOGqevNy2EG0LU9KHpB5vTry584yFpiwsQr1uoH4D7CSW2jqyTji8WhuHDl3auak/rbINJi9OXSnvEeVlrIv1rR0TnUNIFcIR0fwZNM4c0SpW8Jk2BOdVyn0/S1fYt6ZNoahnxVBL//GhuKmsPVgCTS9yjrMe4clOE9GuNy03MAutsFNC+CZ08ZRbFVs+h32Xtmqb1RB86MOJW95ARpXDzewQPqqutTRpDSapjGiGUI+y2Lop2eVXy+63uAmiqbyQMuNBHSuJYXEq+Ief59CjRyCbKE9nhc55Hxog4jRKVoterCS22nH2lDi0Up193BwtXU59u5YEcrM1HYSa2/ZFUFMehpT311AR7Z2UWtnyL2aVn8F0oUoNvSghrb4ZAlnGWd+zyEfFFIcxs0s4luYyfX8ZNoO6BfCit+JW6Bocr8HwCK1A6ekh68Td+pYc6W4+NyfIuhZeshCUfACaULDZCKiNOT1lcGjhQSbvPi7p1cYtphCKrqwRhJMZLEKgiVrVYVtCQixAAe4vJTy60Fzws2Gd0FMIEL1sf52MccUk/ogyiuHxqLEw1mNRnmXbKX1ZtqwRMwUteBH9+fJbUboShRBWP8525wfIilr1q4E/qBNmzFi6+qbWgmbS7wx0cQAxz/J8p/hC6SDnqtxJOQLgAywOwBXTc3sZpMPytZ11iBjx1SQ6Q3qI019fbdm/1qO0WP9rykviaZPM0K+/Dv5IRfjZJc1EogxZPZpsOYdTmlnudz0C1haVgbEYw/xFabhb2iRkgrpwZyuBAJJWMsQAcwnusTZdgC/4q3e2w8Unjhob7lxcC46TySaSHcNsELtIFf166K7kQC7CknvwM4Xk0eY4sFmkrqhYdtpzuGIgrTddARThjh6BbXb+gOq83G1jw6ETabvjSd4aoSmVwmI4ugX7hdGupR4HAB3fcwhZbfNDi2TccILXuS5wQ5GSDQourim7lSDmj3qRWSlP8OTMk5uF/B0leGn5fhzjVMsvDv2lxceln0W7YiNDAW/G4AvisMkJ4LaKrP5lDwt53/hRUOcgfIR6+3/LYxs/o2zbccpWEXDqo9q6EXePEZHhhiWLI3qX4S49/laDGcADTNvCBI7Ov5MPQebmf9WFRQ8VHnDOsNcYF5LmyDXcY/3mU+9CoDFT/0bQNKfD/r+BCb55pulcQjP4//bxJ3L9WUDYmtJ9fBAT5HyFHDij0ZsoJiOEV73h/KpleXmw+DP8PuIyC0XoCks7fQsW6tPm7P2eFUS5I74uVxf+vHCVscQxq9OL9hVDAqivZF+OoMGLH5ERIe/978aY/fCTXoQUgxnHbtzlwy3+pyVA86MzsgNOfyoDBSXm8grGDjj/tZtfradvbGNawWkIefYyKWVZC5ynuw2I1rJwQhoOKfQrpRJQXA/QMFkqxtHEPequ5i/c2pTMe+omuZohP+Z4V+YFimovCj0JiJ+fa00f2qDcYerfBiKwvZ47vi6lgyb0WlZakK9arAuKaE1hexHgqnJqMw1pR+6Z+4A5QX970dBuT4Oo2EmdgLquYD8ZFRTke1phw+qkILq2krSsgRhMLzkyYawGotyb7xBQS8mbyc+Emd8OGDNP0TazijsBr5dSo9PelIjFLh2Kcg7xGJhpSkWWpgt2gO7am8IClOrrqn6kiItqt1oeAlTUVCTx/MDXXaqDN0JVnaaNMlqN5imxV6WHNOkqOsf828uL3/L+gv13YCxI6DS+zb2+/G63zNZod4ufEerofBsHAcJGoFlJVW3u6rYagXGb1jKFYEkYAI/PWV2ywIWUJcdif39yGBetWYIWtxEYFXXByv9FsrgOw9mluj0jE/vrpXrCBO1OZoIkKRM/AjwoOMBpi9efJOci65TU5Qew+OHLyH6TBBqGVPStbG7Xec2HuKvGw/jFcPKaekqUCL7/UqH+yb37NhR4LZj3/6dNBeJWHtxyfWJzujTYIqYaiYSSBxK9oo1/FJ0Ih1aL3up0LFCXbEQH6WAr1g0i1Wowp0d+XWA1hjvdJF8kyBB1k3Pgkoab4J9AozcjZY7hHwBIasqy/peuY+eAvEFQRC4yWme/+F6+ZLH9zMkFerFAiWZ0aF9L+x/EkmwcqoYusiHQwnZ/La89INmLL2zUmtOd6U3zgmpnkYnLVRQYu8eXPf3Pw4s5CVy6vZhCw4ug6AbM0WNPqvtExArdYNpoNbPI1AvrPDItxg7cDHu5BKpcc7DNedatOhzI87BNfOHtMhPz0vOM5zWCF5vNlZUnjYeEAIjQfzWRJ3ez1IQlJLe28lqRp1NWoF9E3sV3FGoEqgrd/L61vAOAf0LBIh0Pi3SvG+BluhS0yM5fKjsgiHKGk4DklgxgWiQMS8NrB+KT4JR0xM5o8X8/usMTUQXHDI71xlXKQHLJkWpqRBncevdMfN2CVyyczSM5ElqrioiC5jV6w9B6zTrRkWIQc4mF7TIzHHi5Qji+3XJDoisMsTtz0mIAn9DM6DaTJzkvDuIZFNBPdY5NRM6g6stmhFi21lacAIokEscbJGeqsGUxtbt6xOHWDmKSlKcNT9wQ9+c589JEGooE+0tIA43/StspfAzzT4VHwASkSu9b+901Uf/bj0kxUz2zFNvEHIDaTzGN7D6UUabY6a/TjAYgV3V4LiDtbADpvdiGn3zAp9VnlHv7S98/XZD2v4j6uGkYl5BWhB/20NIkVxc4arKL0+n4fShrO8f9jyvplXc7cd1oDepmondRpYYsnfRLTuUHGMd6i6+ap4n39ugiW1gSUlmYDwSHdUqjHSjpVBotddxK7x/pXezqi1PyBr3PmsTKxsU5ZpyD7nNTf2f7jR3Kx6mPFuF653TWrqxa0sVZWd0ne0aq1XM/VPeiUjk3xKzKUli5Ed7jtEkjc1RH8Rf1Pa3RApyty2f66RPrzjVj1V12EAklntkU/LHXX5iBcE3sVa0GA7jD7hwuLg8dpqmQrGSjExj94zvaGCUULynXkvxCLM8YgXA7e9veHCKvljntMlljzmcz2dEKsofEFDXB8aBqWEC5EFBfYya6gZPsS+RYccZC6yePlE1YFW8bw50VMKl2K2ovk1td75TWfRev/tfAptZ5BX4wx5563USz/YHFMYlwsWX1HT0EfrsTIacY63utOtJXU/9yAVYOY8PMTZAsjte33FM5mNtuUk1VC9Vj6vPkg0O741UhKGXieKpvvx5OjYIUz+KU7iFonG1L210TKNQo9i2ReFjp/E8Xz1Z2PiHKZolJKo6F0V3b921DP3ZSU/WzkPZU0UaeVJXQ5JUQYdeUn+VDVxKE7/uJ1JHh0FoqXEf0qHAVwwqBl+xJp3bsCtzQHYq+Hl/dZ6N73vaw36cLq0xP/Aa2FdqkOCcIpooZ/KBU1ADgEvsr42Gh//ZpUfGKkoH1/BemxB6Vk+Ywvk8N702IlZ+hXF7zthXmtb9NW6+5CMaK3usAWvAdC2EINok9LOSjrSGoYhEztaoPxG3JjC3tnJrFY+bGPsstjNYzAqqq1V8M7XDsTgZ/JxHXUB68ZVFidbcxqRtgvuknLlU+U20ixhnuea2j2OsqaGER5/7NC3Q3MFQkHgK27EL1xqA/7iGV19KZBYjWAVYg9K4ZPIwjzJyVPBLYpQC3IUJyZlelhTGdVHUUFcocUNmqjX769N7KskWo+kvr/ZxCkZ2IqyU4dX3nyusR9WKxWXbMWAvIILySTEPXgJu0fpRC/j6UtZKSundbOKlcSgOUdyvROHJbW0ivCweQNbuh3m1LIWpMBWwAdADta14bzcm6zyDG8jx+lsLDphR1/3P1LUW6h3N+LIjOgoLJx+a3EzdPYrOYI4odxdAyghmPuIoGFCfpcu/rPy4O4FeVWHi+d6HyoyebeRCiJ7+yyLU7XzVPw6qRo8TT+HeSSPZm7u9mBeT3n0XQoXeADU8/7LanCJbvxy77p76Tgeh/SKkn3JV4Q4rYUYnvSer7rlyI+hOWUeX/Pdl8VKOShd9VJWchg+xkiVinoNp0NZEk4CH104PgKsSNNwFM9oWnInxbnJX4J9AmGMzJvuf7VaSJ4if5dKzwx1N255TCvJ1x0YwckLIPvT1DD7wsrszXMCI4nx76TZ1dajw+D+cCaYbB4udrJeaLRpBvlq0z9nC7bSoV42LU2mvcELZBfcV6BdL9Jcev8Fi2JG99qfoMMhteyyFFXhMzq9tbOvibGAVe2e/19T7yyC86VKCGaqLv1YEXs7q78L3M2byCuML4Qk41kIqr6UTnBOzcqS8MHnH9gzuJl86by/B9YqwyRZhnF1X74q8oK0TQ0K0HYNwcCtqQ5jBOVQFpklmwUxiETs5iT1v+7aLnOtLIyzWbIE9ha1QxSk/9a7r3oLNXKkHDEjoHBrjJASmsNqtzbZhrZzwLid+jtBL3dUWNhGT8PNzzwEQsD1jeMUrLIzo6WVWA70W6gSu4tCUO6DC1ly2adGRPOVXIT7eQizDg29OECtM74eC6dhAzxSJrdzmwSfLCwJYWpDp3PTmSPTbvtj/QB/kadsvecYR6BqxtfD9nyuq8XC5wQkEutDM3cnT6ZoSoJS+uFZy7zNYtLp2yLIeR1f3Eiqh2drImWHgl0Yn2ee5Pn/y0x0yDKc4mCeXFhorQIywCO1JGZeLNVyc0z85hRJHuouMdzzmVWENgvS71294cVyHBAiymRzFKIOHYi2VdoA8oBxrXsEh/0C0tpHoliM9Uf5C51dSb8yJortnxg44hJiI0xK1nNYhsvKkqDPfj6Sva8pOAF117vWp5CEV1FJKrhTMiBJ59pQZIbTvkQfOhuRtHEuCRFsD6wcRiTR4u70hM2Ah2AkoYInkTt8ChuZ2wG2XHgsTYXgjbOckFhGPdqgZ1N/LwY/oTxZUtOmdbLQ5kY+kfYbukq6DvJ20QzHKq5yamVROtFAiRktKXhaVNTrOP4EDOV3jT4p55NYgswKQlRgeqeHp23RoZOcEezwgilOcH288tuRhGkNzUrcUn77si0NfzBErZ9Pe5HMYe8hnfJvNvn5Dl1es0CP121n3LYCvMvpx8qgl721akHiYm3EAs9v48pgSl0ngWYeyDQgLPF7KO8EcSbWyhREY+TwkwcPBouNEvVSIT0OnFG6suJroinlRj5fRgLWZ7jk/cJu8OU/tXrxOgUn7NqPkHergcMc0cBowhYxWJyl/OamcabJ09LOC2QZzhGsagIfsKz8PjV6dXuB/yrFhoJ+KulhqxU/pvS4rIz1J6liLmuScdlk0aOwd3dLyVpH8Pq8LsJd9G40OfqI6MJQ7XXPsSAWI9iVW+7Rjc9afn4MNs+SlSj7HLZ1PmivQ7pbLOng/twc8AteOCARQgGuJzlapmtid9tdTXCbX2elgXrlVJm61IhCB8jE3OML+poxT086CMGmTjur1vPp25bOQAHjCZDplO+hbzJPUS/9GUNmlY+zFpmm27Y9+6dNmT8J9ZAuAZm82dcNjK4TG+4A8Cb2jS3ol48Oqw1EXoJWlj1+deUbhQmMFXrmK6cq7drZgPzleQTT+vADzHag3RnLXIga+hm+UgD6oX7LM1J3fPL7dPNG9pfS7U+PUWl+PFCzTBbuycFFk2c6T3+IWePDberOI/J3EYc7LtbQEcBmelX9jVI8JxrWpji6WBbM+DOQhYmt2U4sGaZnQEFj8LrBQeXI4P4dzKbM+1HzaMtO6Bl32fEGuVWLV54U7dquVcG7wloRUPMmxoLZfX5PrC5r7BQg2e5GpJ4D257ncxxq6Fj/tO0JlAyuVNB4VrVuduQN4mWq+2k5L0tyqWm6bk4L2XsHAMtgRaQI6I69+h7/mBWCiqM5SP4kAfJ+c4L5/uvEZUun5usHYQ5WlKuE096LVV6nCiuiyJ8hhzRrUQG2/uimPlumir3hOHKYlNQAmnTCZD+X48vh/cDLZTObX9E68nYpeKSIZ1+TqyqyXRGLvs5OCkTfAz1amX9mmXX694eY8EfCsg1P/sFcQ+jJ6EGtZTPKOXrMQtZlmoH3B5B9mGZSpw1R9iVpik+azRimLlPjUHdWcVhCSiaiiEea971XnEHGYW3AevJoxCae4iThBptY2ZMsu7PE7TmfuYRgRrTLXSwDrwItyR+umYObl6gfcExBrsTYq+OiJzgjEwzJ75jhVZQD9PI0s5P/lKVzVeN4vCwwT1rl5MjaZyFVO3VnYxdHTi6AY6KhO1qqH2nD1+aPyD5/t4VZPs4s62/KvVR5yKNhhILPvCvnE0/d8OKSxhqI4xwlZEE3KoqOJWThpkXvXQ5yjcujj1OpSb17I/hFs6Ss9geL9TyS0XrN+a3jBGGn+Y89p6eL7E5QZomt19iNfI4UVgj7/KK5AB98RZYvBjjWzd9bLM7ZRLnuXSWyl7jaT5+26Pk+omhct6guQ7hsM6PGDTZZ7yjCapFrAxplBKmnx6OO/Gl2jWSUAjvMg8avgtpS7J/0XT7C27D5t915c0MjWp6In4CcDS9kQj9ALy4VNj6MSaOfHF5zdU8aPSRHvwmDmyvqMoimv7OurirgaMaA0SFJDa1XDUG/FL/7+U6t9r0Gd2EPzpBw/eJmFhgEj42QUtZxyFRYPmRcttpGpYbzXQYg5NVImZcZy0aM8rFgeaQDDbQe89FVQ/WGaQsfgaeud6yQ2l74aPk5ow9DgNoJOtInJAg34ZL6KuprD/6qWyxpLLfvQmX8vwHS3y0jyoSD/RZE/uGUISRsaLrPBGqI4f07rcten7dbRoLLcRjwp8ODDVhGYsgNlCCC3cuY3nfHSw+Ye4HxvP+sBsldZR0vHJ8fQa9+k/ukexgIuS62gJqJ4QdZ4tIvOWh7x8ocXWqzYYEr41ue+Tk+2koQitQSPL0475RdyZ1RznsiH4Qx1V8y546eJM8IKyXdLo01pc164RLsBcn2J+1bbaKa/B1dthMXGRAGCxaDWb8LcOKOVWkS51Tn0LALqJEpAoPxQ+qwpiL7TncKXm6VfvhJFoQO4O+F1SuhDsrl5SFhdgZq6Duv+MCXLqJbP/MSpQX8IFX0KETp4Y3KoqyBHGL0PATUAtHSv81SZiiDyFMk/xLK7rBj1YM3NuHubkzQELsCZc+ZH9eDBfU3m4MQ2k++dzCBubWcGlUUJm1oxlWvnHDw9/3FeLdjQ4hrUtGLsEWzKvvMMrqUgsGmLMSFUejYggnF/OrOZdZLPIl0yQ9TeFwGXRBJuXPC7JTe8GAZtftsFpuM0EBxgB0lxcn5pK4+jSa7AzHOglEF1uIsr4rYuo6jF8q3R4LanTbrqPNE3G3S8kgf1JaqAVhttyia9XBPj8Mjwg0cjtXI2HRfEzOYQuCAL4K5G9yi0rti0AAmBD+UZh+JirAa/r+bAQJFkvldhGrEz0rv9vIGdpfS7GqW/9ZvqT3tVi9XgdXFnKM4VFAs/tjKCBoJalk1J4jlyvsxFrdiWscNexfqRKeURUzu7iNhAjVWMFM4AfDHJrhJoSOMI+xiW+0UKOExZOEdvJJ9z46h/3z+GTm7C3EsNdTOvSH3PjNahr5K5zZabosZp6GVxPZU9w05i+MYgHNXfP+pDho2VJAkS/AJ3n8urIrSniRADrJe5DxNUBHLt3sPWIzwoh/+5Jg0uOyAQpc16l7eTrYynFcZn2KqLTd7kNu7WsJ+Jn/WdlTUr4iL9t3Si6T3zqZszg18LvG1ePaQuOik5zcOvm1bIWacC08D8vtUqJ58TQHFsrLSHs9AVAY4yIyC1rsMtCTR458ADz7BDMuQtXyTO6iSU6tP30fno5/ilWebI0cQeUV3KW+oY1g3fzvV/1xY2qZ1oqlD4OfUJPCPjUXdr8gAKq76+d7VevXcAz3wwKu/bMhtDHDfWJ8ukNLpT6LU45yOXnovddADu7oAzm+3Sdbzf4YGf2nIExPDaVXkwCVDosDZLEAkGZQJBGFkQkj7p3RopTJSrCpVVUWn5S4hxStt9Kxjwv+ydd7cUefMkmz2WwbKdl492K/WZquZXKPmtIo5Nd63oHhZ59TB/v69WqDxegN3yQCmj2AO9jXlJhOr4G85ZOsNrAMSr1721agdXQS2IbPW0TS36UBCeBgYeV8/r76xThaSoaZS9O449X3bWbNG5c1YcXxeRHr6SOF8/xmvBXYGQSctiP+ex0iQmGZ0IiFQAPUSENZYBr66TUO55ssnoXq1HFx0qs0T8USGSgzguTvztHPbiYyBBAkD6SzI5xM7BHpCFRQmNedHqwd/IYW1cJbLZPuGPulQObdzC6Q5aQ4wO0K2LixN2jkpn1numINLNClQUTm+qjiU3qcaiLfqK5U6vyw6B271PxcE5BHnZ/K9Dwp3Ypn0Z4DAKLx8FfSnICWAEEU2NuBGk7S/avNaVlZBRxtCJpM9rdmm/6X8IZBFryBhM0NtytP6cAl7qgzwCKymmc6QqVDq6NtmvSlsAJNKKw8VRND6MwvmqYORIEQf3EpM4Q4iDvCWPtKMQ8lu2ngQq4Ht86W+M4w4AskKmAlNXYiBSL9/y8+f2t5NrN+bQndOCOM5Lff7/YeeVo6yS6r5DigYQimeBdNw+GHky4Pp4NXI57u7pgII554r5lyavrAx1vzZsInQkl/w1FMRcszylEZLxTeGq7y6zCT7JehKKzSaTSSEJxvcRDStuRQ1KLYJbyf21bfuAN/Sv/Clx4D5fdw6OlD6EeYTHrwboFSUBR80MOv07IM/tvxAz5a4JA3GYdylj5rBkR68asuFGVMh+wApJax6rtUPc4YG63UssEpc1CEcVYnrmgyN/x55OqZhckNYWDUI0j6OssJJzgugqx7u6lZY3OLUqv+MwyV6ZfaOS4zRfeJBrFF06Qxkb2N52sZgwrLkwICicU7C/Vke+RMAOVe8UFFf11e6SHb3FsDdwseN8WiOcrachkuSqtSztZwQ0sRiOfrXP7D57XHyMSaNYVBo7d7xjrw5mT4ET0m0L+tmY5i1R841zmjAMEfMihXR3DeT31+Dx4MLrpLRP38IXxJcnE9Y6AmjizYDffNG/BOqGVHBCDQGt2V8wsR4a259p+gZxqrk4FTTnE/0Fe5XAQnTD7sbgsaCgGSsdvL+13C7HuUFjYc3DJVUc+ggqxo3JmYSO1h3DXdzax7G9Xn1UZO5J4Bhn9JyXosN8vpZGeQkWNjleIzvAx2MnhH5uOP8Udck/GgI0Q70SoO1NjFHYfh2VB+jSJGY1vATFIY1Xaqo34ylXZvU8ZPBBrP2vAHXjtiRXv58lYjPdVLANuHUnQHGoIteFLzGRXR/Pnga4kbevlcy3uJ7ncF+wq6rHERSFXEGIamRzvft3BEE1EBhJvIv7ikoBJj7yEkr2avbeMptE29xruy+kEZea6CkODn3Ob4LTAQlUGSQPf1yJc0dibPfAhMvqeyiR2qV5ayUYT6M9V6u0+zhRKXcvNUjMpcYsjQto8HXyGaFmHE7CDnUcVNvGVA7nh403Zh2YHD1lRAVfRz7oQncxX6zRGymAgOmLsEYvDSx6q4o4rKp9xA+BWCfY9bQmalW9MjNxk46xDrVwhxls8L7VcJnIA/FuzIBHcJRdpQmkjvgcgcygCmcHRGw0eueskIcn2C8zBHRnPK4g/fYHbRx3thwkcWspoHsACKvK+OwvsIEdJWtWpyYyi/61T7wagL9bW3lRJ5oVwgdgS/egoVfKjd0DVs9hR6QSQsfEdYLxWpZ0egFb+doj65SaNPMCCOYt3WFqAumpN5urPNIFq57UvlBVXu9LhIawBAiFj30BGsD4asS1VIZFDenAZwG9qxW/Ic7HjYEgeZd8IlFspk0IAOmnvUUl1Pn9Ec6pgLl2KzfcxYq+cZCAHSagU8d0sLyesj6kKsy4COv2WStpWmsVHukByiKxj5NuKq5RjkJVZNE8SK3ganTgHTjqOnQxyMNHBsGSC1owmDGUnRk01J0lE643rApy0O2qMNwjb1PNtqgpdRy2q9ehitQzlMX/p9siZfKATbrxqjkiepY7R5yTq0P5Rbq2vFs/aigY3BydRaVJaZKeYUzaqZZmKwpuXPPwZsW/u6YMy9l9Z69ThxhH3HloyERli3oEGGdaPcM0VHoa4jwnl/2FE5J3Za1ZzL0jJeLjWIxHibh0yf4qcAxNeYnB2EVM7veSltoQJy4tHgxtNu7ZWafZP2PZup2WrHcAmJJXzX/qp8Ddn6FirweQsoHLiUYg9998ACG6EbO9fd5tLbBqHbmB7ORVVy+Y0tNAS4IAy7/ouJGhNndvCKkD/Tj8C6+PV9g0qLSFr0dvOIf/az084FfZUWfeRSq9zgmsk6zkdp5nVMhbNadhb5A4FKLxIHeB5uyDtTgfF4ft/mvYpJ+GGSE6owt9gp67KpZWHGA6aXto+NksFFFKODPvetbZo+1CheCAVTpAt8jRJcjtRJGxK/+lbpTPT7lNy8gRNmnZ+87gUe2Mm4AEZR0b7wufsqBib5VVnfHEr3fAcwy6O/a4YzJvikdBcuHC/77oJ2VFuZTQcPUAR6KJuS1TVRIz8Ket5ub8sW7tqaDSY6bR76imjXq6c+5xfKs9Nl6O+W5iLy+xFYKpU6tCtlDe8fRjnPKDHO1HbyISQLi8mEPYwGu6/QPYqPbgsXFjlTgyZqk+gdWI=">
            <a:extLst>
              <a:ext uri="{FF2B5EF4-FFF2-40B4-BE49-F238E27FC236}">
                <a16:creationId xmlns:a16="http://schemas.microsoft.com/office/drawing/2014/main" id="{4C7FCE40-E951-4E0E-8A19-EFFE3C204EFC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715546" y="3460656"/>
            <a:ext cx="6371662" cy="23249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0" name="Retângulo 3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7d9TWT3UoU0c3EoCMW3W8lilCN6ZCsOF/Y6MZnl9Nv5f3U7bXCw0IxxtEYyheSXNAwhOsWk7L8ptAprAYSRxCYH4JeA/rRP0voXeDpKaxa/zXcTQPU1GcEwZbEjaBjaF9Ko1NfETK+U19yixf/chkK9ywFF+yiPPHEYHWGOC1m4GfJ+41AUXkQ1dgvbqdzm0zqY2W0gTgh8VYUsKmIlhhPM/4jhzaxqwy96K61sNkxyvILmN5UcFMhe4X1vNQ3duDkrYkkq7Nz+ge0BwhpRUNxZAvO46u4/n4ah/CpiTGZkiiL6dstDlknDkx6BLDB9EsEhfCyXSeGiwvNjANpzicSe22Qmht2ayU69zAOWkxaYum71/+md1uAvgArJHx1Eh3pixfuXhrBK9FAFasWXCrEutMjqtvvvjZNBO3M7jJ+3d+DcgKsrw3RvVIaRcyWKI6BEV3U9Gw7kHyhPoZ7vlJtuycg6xpcXqe6vjeKwUhf76qg43N6diBpNQYvQhcDuJVotsp6Ma7+KqP12UcoAyredny833RB3kqhMiTTaOc1nsAVmwaR9rps7UDPIssUS8WZtMwu2i5zXhNbnFBYY8jN6PBS2XtA0E2UmtTDu1myMo7Kk7fyGxtrMJhthDOzv2NE8jndeLKpSZAliVLw2D/B7teRACYgrJPnxzxktlprg4ReQd0LmMrbDAIq0T+cptEeqsdGn/y4hSui4v4cgoseyp26oiUUU3smQsp1zb39XSqtA89mEMYW2/1QBYw8PVe/JgRp+tSmu90yg5FpVdaTOmoqozwvTutskPtTmptPPZQ+ph4l2tyslGwxF8pexFklFFzzIz6Y9GRX6V0tf1hM6EydmL6DDZkLVudisK/l9lleIOlcFMOPxzEa5ZQs0Uovl3ROZBB9X1PEeinEMW86/AWY6Tv1Cqnz2Te2MpRUUPYCuoM/ZvtWZE8ZL+gbqJN1DcYuIKfKxOjSXBu/q6bTJutVyxK/MEtGHMDpFyR3nutw6aTKoVeyQPZP9KWMgMQFqjk2hHilFFrUbU5llC1DENOwePSUS9zdLguF97MYSC3p1QfPpBl4vjM6x+J/ufHJy3Oc7pK4/B46R2DkXY38edT1vK3yV/nTTq7wSiI+uRLcBu6RiaJMnPxUQsjkoIQlrGxuSGWSdONUz29+Q85aqsKfU3hzVxJvql/0G5hNwmOPA8g53XEeVOHi5tiLbYblXW58jTsmKvrQsl0fYwwHtgOW1hNyXXd81y3K2KNEg3Ua8YHVe9JiOIcV/5HABVTC6QfUeI0zRse7WMG07GWjieUbaF3vs32e6YMD1Gslo8T/klZugFzXbPO7keZxVW3kLNCwprCNnxJ3FwtttlV0WrwD7RXXvlaSAc0xKcFIIOk3ng7z8JI+cLPQaBD2D44cEm38rggZvT5G01PaivY4fJ8s5yInLsOsH7oUzqqScKPumYp8fwpNKlIfiDvWP87lvhjBjJFqb7N77lONzAknSVwmMxPom9hl7vll2UoxO4E9FCAmE68bIU6OrsvZb/Y6Z/1sQt+I1WGY/M/n4ZuqmrPMp303hlVnD7oyK9qtccDEEhc3yikowNMl+Olqgbtk9yWk96p1EYp15bICE/nL3gIKF7J4jKa+Q7tK6I+spGqqODCwlW2XSf/lMRapWqDPPPUW1ldmxGoEy4KTYeGGtGSEwC/Y5hCRbnm2fnh9m+65BIWxMfZm+spb9YMkhUMc7oX10Z23B1zSAv2y7nms8TQqeNcZwyEBD0jw7bQuGrDuUt5ioqk1rI2Rd3i9nKhMFIyi0OIsACWbWPX4d4zXrhPnbZS3prTcCNTKu8olPWxZojoSqqfe1dFouok9ohb6tlbhYxN580SYc34NDXSm1z8al5OhDM25XoRfCakIRonjbsD3zCBGApyRgNiY2ShhgbSdOH2JsMOIE3RnwqGYx2Uk8Ldcd8oSWSWm5Y46FdIss9fugwCKFc3xM7Sy/RZUrQtuFwNuMImp59jF7EJxJS7e8NUgQAdDupUEEFYI+Kc1MCtYTsZgLjUCVnOUCh32V87WQy7I7v9L7ytlThzkLuqNXjztmGsF91Tq9TwrLRuNb+YdpKlp38jVRBK6f6PZGZEiszCvb9xeBX1S3yt4Klm3XKjVmqDfvt6oVw4ssiH196IHuITNv86JsHlH9GjY5poMw6NW5QfhIFWeVRplyLWNgiJa6qw52A6hHHDZa1nn4EoM569s63f9MgiEgub4VuuZlPOqmQH40VhK44ikloF7nDBXDDMwbAwS9IjZihwFDODtfWI6prgw7yq3D3mLxS12+XB7hOEu1TWyBT+1jAe1m/V+jmbEVVusD2tXOcIAT6ljytkcvgp0aUrVczCMozqUeSmf2r76DJGV12mSiVCUAGK2rw8WFaBrsE2z1dtVFpubfXPJVBkTvu3v/1T7yt97pGKhXJPHAWDBpLZI2uIxhde48F2qqGiBrjVfXQxeTlUTMY9qmAflfJExAjw+Xrv8oI5ZVnzoYUxp6sWrMdPDjYnpQ4qc+qvxKkLKPWLTReb3XvH0XAiGhNchnV7QbyM6+fQwYHsnN5i5iKukgfjkEPxIM3txCgknXJjIGPUpLx+SXwweJ8Yyy/dVJU54JVBtpWMMRUzUT1Jg3z3uZt5jRYPksU15Q52cvDru4yzWwx6qAxp24NsD1vFnJhBsVOyl3Etd8VwH3IIVH4tmRqJ8ifqMmkCm7oMfSRHbvMF6Cd/34uEknNlTI2iUriPc5CT8eKO0Kg6R1Z1Ct22T0zlZ3CMCjo5AlUxJAFhME7qsGwGbOmlaf9BdAKTraWzOKRbkOyF8btSwDWij35B2Pl6FDrXRS51NrvJzFnjYECTPoOUzFcVJdSq06pPb7xjqqHJ2iO9Mkd6LTXJvJ+3k6kr1t41/AuINis2CVHFumiUi13l6Gq4lttD6sRFmeM0XZFveKncUGbM6dGPhhAIXiXrQWHNGf8HO4TEAftVIYaWYRs2pa4nwT4YgzlSSZs54P5Vdl093DIlkhiKfqrtIeO3sxOzGgS/T+YPUtoYExtcybAJHJSsOOC+7kRNmS1adN4thPU699bT3DlW45V7eV8n+4sKcPT9kaMxxOZn6yt24HbZCEtEJjjxJx4RAq8qzw8knHCN2j/XipMnRpr648R4TOsd5Tc6Zhni+Q3zsd1Mmcd5xP+02q68Iu+DgB+BoRmhF0AT4JKNM3AEULLx5LyP6n2SI7ExFhf2Zz1UHgawHhuUuFNjqkSekQl1PXRur9HS4HKCLZfsCPIWd+u3PnhG9di6fUWKfkb8lkLCROfeUyTczD0JIeHqG+AQtXKnN4oirnlOQMNPwj0xH2rIguXS6mdwW+OrLjmhFd0GW5lxRn53PfhQL0yfiJfSI6U41zOsMhfuqwipUrCykry7k2fdqB66lDWym+r6dYbFpWMObnC5tVGrCTeNi7ntxbdGklD6sZ8HygwfAuIMdnhC5/l2Ct48b5FfEu424evEOs+tz4fjVluLXwHXsrjJgQ3MST2NY0MyUl6W4zYFudd6sG/Vt1KSU+N+eqsvQ9OAuR5szxZ/eL9zWfA5HTP+475OWZeuyhqzvErS0gkHGmA7FwLxbDZ/fz7ro26+0EzkBN0Xb/mdct2fFKCaZJmIV6lLX4x8V/SKMKA/lXX51AglForSB2DU0J7EjHpvdAPCpew7n9shKr4XmbDVIaWl46fUoj1cRJkNQGpcZJlXsy0cMr7h9NfhafJyi9tWDk96vzFWI8PHXJ2pWMYNbZ6SCcvnsrKSK+xe2pwsiIG/q+9oSZ9kupKkecNsakF187pgQVfn7RUPw4NPNiixmhuiCGJz/Wvu0hBD2/2YtCy5kimYQ3+VELsvvpOIcVYHrpM8wjDjwEZ7ZMRFhQn/f9eFAYxuKkJjFr0g6nVxV0hni8dxJsgswix3ukLcNCCNdwrIQtERIsJFkhruT9soHYYY3DAqQCQFPGQhtxnXIkGPwabXxgK9ctLONWpPhnCyPl3LtSYoQGoc4gB1jWLr6gC1OFXWXe5eamjfSNX180tBoNOOqQYmvcep4b3LT6vT+DsH+mKoFw0+UWR7KbBdxXkMGclOHKXKRXKJpwlQW9jlyUdj/vO5Q597Mhfkk0JfvNXleYO27BeQvoHOCnWmXCuSLAFz0OebSiaQw7do74Wa12VGmUC6ujL62I92WmlsKTEW1LYLMOUTfILtJkh2k/lgiFYzhq5rrXeCIGOPahUMqc7uEiEp1cdVTP2fuOEadM3TkpvKLfxHnwM4E7fYyMddy4u/dNWy4klyVXiVBU3OzY4SvMv+h2oGMQXSxpr7xDgM7vdy5eWHzPI8DFDTu28pBTPvVRubnKrRHpNNJrcj/sPwBDTbP/SSzqtSR3HnH/poqQmxPGWMjXtqGPiL+w0giME8ItGkOF8BNvR4PSSAJNsWaUtTB+lj4QnicxBwEpEtCfN9R0l3IKaeNAOIbrLhtoSuMNBG25mkAFHttPrVOh2dqES+Kx6sAWOU9rBn659nqfvP8r5YHAZ++ksKlj0mIz44NQOqNOLMgJ9L4TdlrBImg3E4ig74s70TE4nwrH3HC6OqPlw0t9p9G3wjDnvhPj86maE2WFuTaSKM9UTDa3XooB6iAzsUokWbqe9lrDii4XPhksMSkIR92mBkoJyfo//mO+OL0OMsEgixWEEatQvyTZ4FUfxb+zFdFToexTDr/FA9n7yiXIu+xeCrCNqS6O3wxQEgxEr9oR8qc1kA50NNDfgWJcC9cKnrfasIcJ1U0TobQzw7xa1cEGgOnRH7lSA05cwXtPSs0852ZM/XQQKh8qOH6Y7yCa9yGBl3FDnXAOGbb5FxmtPWiV5/2InO+hL27RkxBC/Jpjgj6/jMh/cvTvn+rU6f7OPc1wnLyLY5Da81b7NE25f+m9AlBoKAho6lV8/1Qn1RjuuwRzNxx31/EHVsS9pvG6oVZRXelXP+UyFGok5jUV6xpIBUeGeQjAOurvl1Apu6NS2oA/KW7ghzi60Mva5sqV29Rs9MrAJLjQ3LhCA/FRzcF5JVBBjgVQWjmngLFc5upbbGcBW9AXw6VSVadHGRw7N9yyMFfinTPGPQ45h5kKKMAdL7fhNaovd7EbCnymnZtMhnMa5vNB4+m8Ybwu+tFjYZJln0CXoF1XjyZDkdMEsZnSdsha6LngszlLQiI9O6NdwEArZv8Aag6NaMntqVADLgrm3a9IQt4H8JTG+sSshcVgDWEU3AnGH9RTn3kkEagHwKx7lVmz3nFELvJ9tvvnuYKBnvwTnIEL8awDa8B+6Te/FJYywRK2jIT1hzpOyYp0nuszlJKHaOvIsS/fB8CiL0KHWNCmsGs1DbdVq4vp1AUZRbWhIhJVM1mDQERKblFlTgj1dnutjAyxCciQSpAhQeZ/j3ODv8+/vghBiKDylx/Pq5faWtzlRI4espEJluhjHtcEp3p22CP5O9zPdbbeycNz+TJ3je0lbnMR/w6jApYtw+uEn+cZ6Uq1TfbPtvWK19mNdGUZqp5dGSQ0/zwsbA40eIwhEiCUxycvdWQBWtveo/GOllFcXsFFSbRRjrKxoPbnjLVPYYml4or+1xoI3pXfGEIOPQsKTE7aEUrfx8MmWqllvbik50Ll0iHkLk5zdLPB0YUBQDiuOK70Zhb07V8yeWjdZiz3HknUs6oxu6X5P+P42X8IUsJf3zNHg1IV2IzELemiLvHaEH1Bm5hZnr6Jh3OiL9H05AISixnYwOUnercnj51015J5+7rrIa6wUixyvZqzBa46yQvjN0OwsHiQ+AXzxpz7MYCXcK4XYW7UFXEHdelBLDKgogQqyOP3Lfp5zGj4jCM+DZY/fo76GfQrr0pkOzeg2Iv/5VlMmyC9H9CIkDBJoyWdWfU2ppWdtWmJetBzkPGU9rHktw91pszi7kEmiYoK0/+BKBGP7gCIzAb95qqYnWHGNquznpUt4T+Oyslkq/YHF+h7J300+d0vUFg7cxO2+wY5BDJ86sR8X4t07+RifXWD12VWxGP9a0v4oIOga0w7mkvWtXNWIiUNuS3wnvzRgJF/5xinMcNdB++ZNyHNvSqDArYtmNWr28PyXmyhxt5U0pJLa8TipuFanskMQgqZceBWoTCBHutKLtXi0nAvZwBb6sQUf/6fazt//pgA1FGX9U1Xwfo5YMM4vV8BQQ5PzF1/4A9UTLmZujXo9Yt2mNqCWeqBwHBbFf87dx8iHHj50olrmmPSCAOeetUUDjYY4twOKXkxp+IcU4G9P5O/K6R77Yy0xFp09MV64m7EhaCFLy7KduOCPTCyi4VawQ0DJ7S0u6uZSdTelJuNp5PZz8ns7uZA6xMiL5aXE2IkddJmrmYNujdY7IosOZJ7+vGB4Uz+yPEfEdobjK7GlpVccoc6mC9OB1Dv47ctwdsi/Eef/PtmZwX5+9HD8leVXlm3avNEuLPvCIUprGqnLTYTRFPwJdNq89okeVtEUNoyV+4KYv8EH79q0PEkDbIYZBZ1jte66wma2mO4uRNJ3BQq/uHFqmiSGnKAaq7YWthdyaPRAHIdLiWqkpNidEYMCwtNgsQhlEPzJ0OqhS2fMVJKJO6nOLCNlnoKUNlYhCymg3qg8svmaKJepfIqENl/x1ZKSMHrAR4XpJTiwnKJTvNkdn/o929gJLQMeEaK+xWDpnCrC8vjTCRMw/v6za49zAz0EEQPeglCe0q7bB01FYOfMC85qbIqwkJLYDQJZoM43SnIAsLGlg5iUL9nKkHafDOGZwihjQ8BdB+m8izUinVz1S5UxfMdEE89ifTH3PI1wZzr9jsaikYQ0r/68PQyUD8J7QfyhfIS7A/F4htTevMxfIdORM+EE4cLwwpxI0eBF59QYbK5h8bGdA7jo1mKGQKfVIMGk/ZxNluXpQBCMhigowaY9LSWk42D7Ugm6b2n+miZU/hzKgCsJWBGhEi65vUwJxRu2K6gO5+rP03KZMJL2TKHwLeqYys7O1sUIQf0jSdJrvr1RpJHLrVMHl51/c2iSJ8ViXp7bZkgPexHGFHhr8siJIK61Ld9H5AJzqF1cfP4dkxhV6VmrR2Cjjs/Noft6lZesT62+FIbLyL2xg7tABQVNilcxC+Baat2YOMO+sMG+5xPo+sHG0WfR8h8sd8CkHdNnDKxiSP5X9lL1s9eE9UsdoW7yf2GY3WR8Dh+ykvbdcVR6mlweDwT+XI/gpdqQv/d5rDgmcEqC6oJiQh/HzsewGnhyrCfndsR6BoMKjcTnulmJz1qsDFOs4NSXTmIOOi1vEKalx9eHOxl6z0yFWJKoDt77mcXUK7SJT+nY1vMRAReRKkRpFRkbIfKYFGwY/kbx6nuRGc4hV6FnnIv/P7RHtgqGKdP/jOHutbXsDluV5yGjex9AVJzPGNwZ/XJ0HNkRk5PjD3KIqCO2BQCxUTc8inPB6xif280g+5bfcx6SIwbyxwl1Ca8Ia8IDW34CczVjyVrYatDImFFObCBhmHQmhKJ/kgS5fye1PrVSYQIQQef3MOUedIzwX7Z3CK4DTj2JcOApYXNKRDxbLRgKamQW7ssSRSc0OPKYmD4kbzl+c0Xaj9lUEY3PsK7xBq4WAbW+a9u3WUmhHAPmnQRJ4SHZ9SYlGDGof0UpxQaGl87QCrmknh3BRL256CBaqeEwi+rWx6UGX80pCj2dXjhsObOUub7qdIQPkfRvGHTdp9PHUIcavRXDXU3NY/U5gRIFHt8H4MoHjZA2gEiz/sRLY3H37yKpXFNGNELXLBTwWURWIXqGHJlrTQhQe2N2vD3LYUbBfDWnjF/fVVE2JYWahWwg7mvmlze5uuUD//HVTjLAJ6o7FTQuJxMrDOWIhxqmMBxXEN73Sl6otGe/WyfgWPvlmfgbCGTr2pwCPgGDGzybRuHt5VgeU8c1kKDwR7vKm2+zMw3B2iU/k9U/KHvijJb7OEJaO8H9H6c6NDlAN3bDe7qNuKnDCy8daU3+OPivCAgL9CFg1fEw6IQNr76toCtUILI7sSGssCXn/chJGA7jz+lrPQcJA/EWx8aNqNibDvbnbp5aY7mpZ8j9mwclYNsbMJTAOs+urhC9qYyRz3Z0SO8rKTfjVEpt6Woxq9h6nt4H4ZIhXPyluTCBe07CuWU8YNgZI9aVoQiW2SQVmzQbi01H6ratK+/fKAWcg9QQDJdEbdj+cKZzqu8ErFfTQGRPv1/Qp9EZtbtn4/vOiytRD1CTKwLGOps2rreBOGbUeJvs89TBiv0jfpFl3peYnLVRmw3yJuDIFRZ6/s9sSNLVdcbxfa1P9+xZI3XwYkvbhyEYov+yxYFRS1s6l/ARvJl2O3PybPennP6pUBO+YfDeYugaZgk2V2Q0k+5q6unJMolUBfJFeQElfTczrs6FaRPxib+NdfYU4Sczxewfi0zXTrIB65n6SqOIgupd8mTS0aFwgIQ0yAIhjzOsrMsoF7E1QIEtLHis9csuuKnWR8Dp+uf46h+odoqXj/yN15/tt0+C9xHq/JyPDoYodErGFZ6Pb8u4EwpNdoglrAPabfZSHrSsf8ncyEOMBijfjyBhX8P3MXZkyRs6pH7kr31mHM0r5RU++yEQuLvNrT41OczwzUNkwJ4sSIuOtzEb9HV8qKbUA0lvvfLUqZpA8IGqk1+djtPjeq6hgkqmzqmZ5vMm8AwRryK8fWTLcUekvwYtpcUfsI2uEpdjZL6yxBTu+h3v2mtqHWiwtUIH1JCPBToxxhN+AeAHktkqBvY7Pwbl+OcbjI6FnOo4PtgnBR14NWKKbV7eUiIfDNzhIjzz4hnPay2yZb/WiZa8TvZXGonTHfFlOCp88KAtkk6q77PvJ8eEDcpiPaEntU5C26qC2m577G4L2LRr3/lm0E1HrwhqnWelmIGSjuKRA1GFbPb9DY0JZY7/J+YihPZk0EjSBK/Ntc6ZFFwqiVOwnmkbcZt/AjAW4SPQYZbN5b7r1imIVy3rOTM+ZAVjyFSS/H5Ux/t1jkJ/cdAlaTGqXSFcjnckUjcO8sSOLhGUAxAaTlyUUF9uVGug+AYSpFIk6PzQdxYYCxEzmh9jm8pjlUlpMiBCYLRNaQ8/U49LQV2P2WXIiWKXyQkNUA+YExRLdx2w/RMeqGBIh45XuNseJBz5SU1jAFAjwab3OYz1xwhsdD8DqftIlDHOe2AnueYGO89vlOuHhtcyyOYs+fUaweG2MuwkXdyenTNy+YlFzqG9I1H3Z42YHOggrfiboxNqndWLDjGVcrgINCmcE3LkLwlqrALxpxZO35cU9yJFl/a3tQQz/t3zcW5LF3+BnTiBAx/3JRmkMOLx2iQ/keOlLwm01++4acHoxr5Gg4UNDDOtJlMztvdsqTe2Kv5ako+c8PB2mo9EO1zlSe/BIpMcqbZA3WiyZ9MUr0opzrvWb+JdVL6Y5jNptMxof+ljJI54+B9GeAhT6t/2iaM7G8SwpeLRjxqZ3UhP56zKL443zX4aRHlyRzaDduZZ2XO/D9EKij97gusVQmKTJ6tIWOwIMbtcwiEoLMRs454y+AnIFpfeKUw9HvPDq/LKitCGE/4c+U/YrxjuMGb7ur30zZhKyc/KWMH9lealWbgYoGzKMKBKzHLTnX6ulVTYRMCcJVnhVB4FL3RQjSS6arGrFeLyIas7Tyur6JpuC5V46iMg+ZP3290W9JAekrQuf9w643emhBp/zOl/ZDaNKj8Y8d2X+Nq7gP0AgxaS1OC+7+XetzEqDIqP56TRiG5PmkzBgkGg2TXB0l+ZgdMcp2Le7W6dfiHi1dw2A9fddrmlQl9WMyruQXpoDeazFZ9no6xKegoDVb7FiqgyEJOH0hTsAf8SC3weJyOnMDF/F7BnGdBcbviCvzH59pRQ+dVAEVIOgoU63thBErolXQTJDGuV4Us5PEX9ZfactiPTaRgKGUEvDklMrLToC/I3g1XOkBmIXlFt+2DdHMHLuveC0naWVbX2/XEIQznXU7wifayBPUu96UQJIrZQBA/Sdz1jIOMJFy2gVscHh0MJ4mM9s+6KrXASV9W6sbw281vINyRt97yiktL+X8eFyfu/DFkGTa7NG8Muzk9FHpz6tmHSkUkIeWJDkV/4PLKpA2FWaqBPZMuwk7mfebu+JzWYQCtSRVuQo3F29eAI5onEhkhlvKesGBg27YWEDQ5KOPCzqLbOdq7wW8wen6EzsFLYsA+ogB0Viw7NADxn0WY44MM+kU8S1HxqA6fLtyEtaWDLtcJb85VbKQI+DBtV6krL1tynYKob5nFbpitUjqu4NunhkYB/TMCrhf+Ow83cuW1+akS2z95VrwDNbCHX82XP5xddo5vXQhjy//qUIh0zZ+TS80m9mPhfd8njaVasrM2kByfcnrJLLvxHikxkLWohroFRCOLmr6cKznR4VhVDOdheMNNxVI6HL7qErOqKJVfuTCTkmp6yAnvNja4Y4Rp8XaNdY3on0v46DS01AHvmrAPN0Gjfs6t9AYEVRYWuNuSIp6Ak6xQrrb1YNntvjSFNm5v8efrT6jlG9TdBuGlo3DZ+70pSrToaWOIJ/XiEb7SziOWYdRBkVOaj3fvhmvabIVFbVZk2gDpyFgsLlqG7a3BmBD93EP8P54Rq/wDaIlSRe8qz6qheDKiIyfMmJDB23r8QunwS1wrtAKPapAdA004PsS13u1Tw0JJObi7iGbcijBQJWlKAmoraWzVBNwSQYEczn0b9Q7evGT0BMOQ7ElRNEKTxaVyi+74UST1NxvwgoRWB2zWbe9DY7dMq4LxRvYBQ7Z/uBC8K1hCwidATX68Qv4EDCxnHUf5/Ug8UtjGJnbSps9HrL/WuwaLgmq8cLXArSqtideS/NlcLP1HUQFop+LUoJA+l9e9m8RqYA9JpAPK5P2w+1doyIo/gu1w967B5BdfWwaR1fhyPi+eY6zjBTd4gbyLp/lrs3/8ro2x4ChUkVlVeYFR/R5WA7Y0d+0ZTt2EmNWJLSGtkGFpz2cyYWheer4Co7dqFaPX2lQme+krEkW0ky9bE+shx5qLbWlQalftO/96XuYmGc8hom85+OM6hZNCiA0KLdJudADzMWaC2B/06rUmm88rbJl6+h7uTqJjKeVgKOX9Ivo7tA5d0dTi0yaTyQjAoBN31BOixXKPhiODR+6y90NftAsumMGtTf4lYQUaYTquAox5/MsoJmdDMU6XlCK64pOzvAubtK3qpoVwuSXc8JhwFuLQtWJQ7Xjawe8Ui5hyT97uCzh20sCLS0zj16DUTwy8y6hYGiCsmtcx7I1eI9Jd1S5nT0ODsDmI4JAejAH1WH8uaMpdzsY+ZPKdrc0aWeA+93zH7Dkpq7dBEaSijKjxopJAQ0OWTIqxmR/2lXrjenhqvNPqlRgp+oiBHep/eIakZab6nowQqvaropQIrxoQMj8tWm+fRJvZ7hLK4HLUalDvLcrehnwpRdAgkEHukhbqPL3z7ABU3u3UY8IJB9Ir/UUxSLiI7OfJelun+eP0WfOdEc7C99Qoq9bzGuvL4+MdUfyuLahTQGpLjYENnmtsrj/Dd3zKnCV1qH6aZjDyAS1wgTMC8wUKr85RhjqRbqqUAGoWp3XMvF4gGpnRA0h+mn6ODw2N10m2624AykXzLFga6ERV+6znRvTmdHaIJKQKCjKxnFDsZWqFQL4UgKy8te5cH5uKdRsSyelyhKKIDPCX2qWGq5gjkVx+8OSc7OThfT7dOpwbV6EkecJBV+N5W+FnW7DEj39jSJSppidwikKauAZaL7vSCHMmUAhqvyRW0+U2CbSJqhUB4+bOpozQBI1sfehoaHoQIK79hvmv9OyBq0ExkyUOdb1YhR1Vu1XnvS6acbGcyY70DOYTRqQ19FYwr5ZhEYEhBOqugEG3vzK8UBmvIOOpKyqJsxhOemKMGvAKMSL90emcA8xodUYyshHDmiXl5kUEJpFK/DGmbZmJwypHUPs4I5048q3XQfSzKYzjrNFGxHoEeVZ0vfxEd1LLSTSH1F6h8+a6nMBHV7boQwIq/RZxlitEjIJbW8wum1j7lIXRk9vwUmIyx0So0Q1Qrm48nVp33Lxj4t1DuVZ6Y0TrABdyyJ2iR7X+FwzeB0/aJb9Pr2uOdm8HlpAI7L8o5aPFAukY1MKK/BL2gFDx4bUcH+YrTEDhDWFNrTqU+L0EuB3XjSAjOyJ6+SvNmcS+JSQyzGvXSLHweh+CDyLDoIAUkU1EkwLbCOzw3Bg4MndjwA9jb9tVH6D5668dNkjeFlMY5n3aiNHFlfO2Q5Sc8HXgDWHKLwhdyVa/WViSsXnI6a6bMeeBDBIdWMritFq0R9JyqhKLQk3YiBq2F0/PgGuXSeRgh/x7iTGWV6/dcVF8PSQwS9Xm8zvHJO0Ll+4MFHw85PdG4eNgMJLYGBz/+ZkpqRbngHbdEhYk5JqBhgDYYF3MoafVrDn0g8qv1YFHy6x933Udy18+ZobDyvDK4c6dKYu7vcpcnsk2lQDgYhOn8n5qw11IqZe5JgFRLMI9NhLJcUw1hJ7TTiIxvsVgYrLsi49mIGKh+5lxr3GkVYPPU82uFKm3N1pTb5T1bIfXEgAfIHj3gMTGzFTT15mYqFM+tOc5xYHYlWLq4NAmmAXeLkQGg8wM7LJMqWHzPnyOmPMgWK886FjO/m9HTFZXIDnlnJWCyqtt/OUzblZeec1uC355awri4NPqkYGHDs4TgA2ORstHycqYOWoZ0nCr9hUrFyybTLUPkaYjKYUnL02Y33DONR1oSCxwWBbJdrZ7h0yLLgw/c/Vwl/yIwNWjU5SUXt6HHi0aDmIB2C0WtbYsbMh4H9m3j82sktDNQ3ZCD3T+eEkYA2tp9Vc2yzcRz1xqT/vPp2Dva+jhXzGXZZ0LGOIMBZiLUw8MzOpW8cgwcqUuCv0hAC+WE8EJKVWoIYHJPswNMMa6Fx7FkrTf9tUSBeTp7cjD1ZF2Ym+ntDpNd9vxf8V+yfAr+WJ9r5RrFURjxlPRkBNIeMGpQVMJmyvmEP6CPvJphIgneE6qaGswFuC+dXQQsEMJKKdwlAPx1BtX/pNtkah0KS4Ef2rNSROucHlMkYFrtjU34fleTPcw8XTrGMSGAcJ1pTr2aq4Pl5WLyphRtki9a+Om2sRuOzGj9N9Df81JvOan0mkUkL9KvZQojTTt4vIUr/9m8q3Q6liHk7lpIGczeDRfF6ruoVpp9kRdDbGq2G1tuQy86GV0q27Vi+3e12+53hx+VL5Fx1VnQPtMy2+zEQKgsYR6qIi2NqkMyMeXHHvzrPsQ5CNohmeK0MxQoWSzLS7cYbHUeK5EuIq6dYPrD/sIsSnSaBr9CE0vWMwVJDhnUg4MXzEmeBKwNHBjs21Mj0zB+ZMjWZ5aUTKfNtzj3XxFS/5mb61ugQSa4Ntb+fxtC59Ms/DRlo0MUbj2t1tmwbqdXuVBNCpyCM8cvcKVwGwtgDYwFp43h1aS+jdkcF1eVwJxBBBzo5MHpUiMnBAuqCnhwXIcY4ez8+clVbm/O3eXAwpuu2GWDf1TNpqnmlk+BheC32ELbrm1r8g83P24BkrMNKD5owh91977UmfwaoSQEuM05DEFrnINNmPviD6OAUTjKjQdkScQkPROskxsuWRktG+CmDy5wllRZ4HweQq/BDRa8hhZ14tH+koMta2JF2abz7DV+z2v26s87MwZd9DQO98KkqpL3Z+vSN1M6+X1mQTzTqk7q1C8RxyxwIhN17etLcTv1CJ5rIpCKObeeZliCLN/mf+K2Mq31JX1FRivr5DpOKKN0UCNHN9DBsHVSsOl/84VoXXS/x5duGKrqiJqnEuxwt+fhO732zjdza6o0gQrf7dglua4Mh2FgI2rSkyKsLrozca0RSpu4IcShAuv+V9lasy9mkd2LAbbE3MLtUX7OciaLwFp+44Tjokn9t+IkYmF1fjOf3XpCNzjUauYPIiJoOUrjM4FqH7Va07RIeK8gdPtbd3sdGPA8lj0L7I2xZu3IM0Rr7pQ6uALzX134xccZomQmBizA7aDoROUFerVEmjH1igtK12aDPAzHQq7VpVDdT/UF5Acyru+Kp34ZLA2B6r6nGR5QXk1yFYJyDnQXKg4hdLu60sM7vXo5Wlgdm456/um5DGzT3f6rSq3fXxlLkicvzirJ2lQfxescifg6TPsFRUeEqRD0tI4CE9HBe0+8I2AXc7dlkJAw7W/GdSY+gmCf8E8ZV0H6EXpTvYWKVj1chK87A7MqmF/sMOgGzqDrUaRUQqIGTkMzchNZhvsis0EKknVnRTtT5shKF20ekWje6RFnKe6jjdwlVQhTA+7a5UFZ0sYygN0NIF1/izz1fIv28jFjK32+F43TvMfPtGaqzme9s4aRMAPD2EHG2NDv7wuHLRc8jA7zQc2kDbnL4Se9Wjb5XDkY2fNkP3zJ67zaR8/doqlrF34F927r648o0waTKYdcHfVFru5mxAVFzAEwSofv2xHmpyXjrbnoEMDQtDsP/HMauDTMKcKYpzxiHzaGB/wu6RGfKJyM8bHjDhI53Hemwo5rwQsr8pZLlS4aa4z1tibTuezAMLPyQzJ7lOs/NF2SBXJTU9FU+T+ZWDkguZteUrSM/1lPGq8+xxiOWS80vTRO6CYt+tS+vjDX0ovN8VAo09ZPSDbp621qDKf7QSu2TfdV5dhyp70eXnasiPUCngpd5eJpK59KYKbpY/m0Bxqc/3Etlk3TS16ae2vvGQDoNrkNQnP76e8S1fl944ZiBtVQF7dlvUjwcc2i/T6y6xW89dB6Nty8x/wFBzWu0ZIfuCwSealH7HvDkHbL+sJbQ4RAjKkn6YmHRFzs9uP+gIwRLDHlxSkrqA/NSBu1ZUutKyw/eADMxgKjhtEeP9JRC0Cq6qwI7WB2wmSlkuiZH2eVUihywZatS/XO+k9UKbyfbBma3tEESBCbhLm7iVsJ8j06hFZ6E2NKNCM3f0PBMRYC8Z4+LLkSIfCoAnIwMo9Ea3lUdlVaa6wlI2nxyM0TaBk4BRYH0s0YwoFsrcQLyLF5YUtTs0Dp7fs8m+8HZZwazi9chqdHW685oFQqlaM1JqpspZYKW/YB1xIt9YV/OGu/2plgu1yglN5zH30kZqn8EN8tq7TTAg7uqTkjk82GwmVQui4wlyp+jK4nys2G2sbazumxYgeLgFF8i2LjEr+R5SWSoxiUxoi7Cg+ORZNAMGJetesPwlSfXMDfrSXPoXuodXoDebcF5upzuaiXrdGFKcWpfGVSZfWKc+rNZMTVyK2VaD2R3dB+Heqcp87RsvsLz2bqCWUkifSumVuXiFNqu7ZikSLE2tnz0xjXd/tUdhKidN6dqIf6voX9XHXxk7Omqc6sVwk8QL8sP0qwdUJBW2Xy0ZzMq10FPblM4hy6zzKod6pKbCdPG4VnKXJB+ZJO3HztzjuHwBAZFVJRIQAmpdfodD75VJsa1Aai+Q+UHA/GFBBftA3vI6aPPrhzhVRE8RPNUEdL3Pq5WgNuCHNY6Q8spr6NRnOs9dKYPhbahoCrKTFlVsEvvJlQpk8cNTc/66WPcj06NRIIhdHDHHyq0ooHeoKiIN7Dk86vhAl0UoC1EUzMhrmXwhTyDbRxurOsUH9dgjI+LGdG7E1FC7af6NyclqwA8ofNhPwa/+Rv2oYAZYk2lVjUdCVXzcmJ+6N4Eh6n2uFSEr8VvJZvSV1lkPVvGL5FXyrJf8On4fMJA62xWy18T44YNjfiKkAM9pe0+xFFCYRUkQc9pBoxysGcwZ33GZdTeugS1+OpsRg7by47YeXi03ClBIYy4gr4tpFaEROIcAlR2Y8e2I+a2KxJtHVJE6A4Df92tGWt4EdWgIVAkZhufISjE5eXNW6CZxCM1NETmK9Gqpev6jLd+z050AixlsOGC1EPgsjU8BicOdnqaVJRcNfG6Tg6SIJkbwmY+AejLvcP2nUeiksHk18pk7q9TAlug/lo1VFgolO4nZhjmIpaCbU/kUrwNxB0YC3YzWNTs9mlEAdVv1JxeSfWlxA2ICGQAQOH/FR8fQ6otmJ/ml6dJt35njM70eTCQL1BoKxP1A1osf5u1Exjq9IUnAdLgW1nTMCsUFohzruAIFNfCif6hOThU/oAKmOV1GwFMYM23QrTO2sUUAXrw83r4Qi5QDhzd0jWB/4tolfW7wm2CnwEu7aQg+//BuNU6qtTC/DUjSbZDeySHNmvbqiQJ/aNzJk+7/hUmArmOxdrsWv0tTDMrWO698VNZkRWFkm+kpvulR2Xn9Shx0sGAH+ScEVKDxbu09GwhpzSUsm+cLD/MYvbMhxxqotHzKOM/vl+RKRlkO74cNoDumwVT/19gmWGpNlIKeyfGFIF4oUhq7GNbqFVN5UvNXiibPaxgMO5xoNJ4RbY7SxD3ZlLQ2uwTJ4emzlDmZnAoE+ssMdwrsLinSTw4qZj6wyaAy8f47DafyCUG3GY8su+Ln9cpGXhC5cI6Kli1pCR9OxZpRRdTaKkt20LUgY5sTy5b74R7puYDQAvHr8K8xpxbKpF8BmOWOzzFWnkLL4pYvTSR+lRYwKy7cMExnoErsrGLLctoQWvSwH+3g3QMTpVB3aczpsaBKyj40cVvdCeTMoJRiBBuPtSVkJ8628dAPSZ3iH8+WqPxvUrcezn/hBWW7g0LRBAj1BDFunKGTSuDn+S1GAM41Hie4Ni3QkoAPihSzvt0UkDUIYGfHydKplKF6Hjl+u7ZOKQK5Hj56nb/frzz4W53QvEfkESNdH7ipmwnT4qhpuJJjsy8Ma+Erls2cp5m6WQr0iCzh1ZdPjdN97B+qAp9N6Ex3enFxEPVVAe6Rc9h3xiZ5QhxwrsO5CDVSAB7ThflmmPXoEpXyKvFKik3DDN9uZaCVNtlvztnROEQwuEl5Pyl8oofv5d3VmAjzb2eA6SgZWaTSr9FRLWICPJakdS9bwOWUKaFlf7WHcD2r7hmthAfdQOkRl7XHSP25EGDUQsfArhZBigKU8oHHFex8pcL5RGCNgIQzDXeLPKx2XlIgVs0vg14T6O1grgaLndXqsu7CiK/s8jHlt4TNK1sJCBtV7G1DHldPpB3hXglnuPjz3x8RcJK/jPExKTF2iOZ8cgvrXoAyaQjrvvY2IYGwi6S5byl+rH4pcrgP89JzVm52ExFBePTIEIn9EYzYYuLLrHKTa79Xg7r0h5FycwMD0UZMAruiAyOfYq8rpPe99UzcPZ4LfvZCY/nF2BZ8LDW7b/KVokaIiZosaG4rZyiWV5Nq+ryRlCUCmuyypn6pJ2pRCP+WF4ko5nSF7HGapQsRK1NreaigIeROuLVFDmimLhHBxjUpkKzTTPCI3uO65rLgQ8KJuOTRi9ftvUKILWT1c7Hl4yBAP4s6xJ5L94A3TcogAeZzPCzZLDjwVMKlUumnzoc0/v9Zng/b42ISWKsoZ0i2lxRz3yzWjHXvhsp8G1bMcAw51EN6NwXk0WKCN3yTGDVOYS9Wl9hqL+q3ciWN/xwv+jOrqTvjtLeqr46WhhkwB+O3KlUT1hJKzJEpqz0seRiGc3tGNXKzJ9i9ACCcxa3G1sijoMLnMNFNPyANIhswRaxgjQ6V99azCPhIMXu0scXiSt1Ds6PkEcoqMO7RDKrU+c0iHZvrMidCLCepT23WOCa+ZfmmAroPpn1fEDb7SDzCy4nkgnvXb4wHcXkMiuaxtJAD5DQQe02BkjxY8nsg1ZqkkO89+pV0HDqfGd46RiuUV3nDVzqID+m+pH1t2ICzArLBj2KUOQFvFnJn8RXO3Z5twp/uxMTAoyE7b/I8Yqo6ohQKs0MPMJ6PMpgqiAVJ9o/872+AwxltJPfDSyD8hu14V8fc4SKzyVDoPTLUCrj5smAUV7tcJ0o1CzpP9cWhO2ui/evDX2/bYIfwttvtYsg7iWRsV2/s9V6+82YWBTfNjcPvjmklbDADEY+hMEWRRORo+f0yrUSoi8LVvKgsJC7FxOYWld4Owy4RA4EvVCdACtAncjeFYghjHhE/kp8YcBuuBeMr7OQOS4B4cAv9aXcyei13EjWOFSb/OZ+pSi1SWtb6aZ7C4+PErt3+hddKWwrFMOfOSb1fRfj44tSO2aKvfHZvAnMRmWHGFi//l00two9UbQP8Fv5PsIREBZclxiH5OHuQCaUtYHR8t7Ht5kxa3RPuLHD9YzerHq9re0MYw74xUd4zVA7oL8+s1b2i33zb+OQWBuB8HUsQg3sOAKjbWNCtcbEhviZhRq5n5MHfiWURrGZF8X9LT46H+E83mO8R99oVzzsFPGbJgyiSYK9uS0jjkDHxjgDVEAeQhnJiVNWyhHA1FugXMpNONPge9STzJc2kOsfopVXOHJdBOl5CvaWwTlBn4i53DGm2PJEevEvYFRD/Wjavr9efD4jiKnZ1r7MI8GyCa/nMmdwHGq4iYIa9xZ8bjobE/CBmMd2vCFPv60zYl7apldiX2xUYZuU0RB8A9nzP+NTPmGGQoXrBASkHSWKXUvFar3Zwd3M2EZ9Rtcp6ESBCI9Qfv3KFBJq6luQ1ynJQBoz/mELtAj2BMbilYJosR0cx7L6KDdANDXpyEnbiJNkFz9hpHQfYW6M76MfQmoI9v3i8uDP6bbfVlDZdl/6AkjYNTTayAKgeGky1mdJ0xsoNhbwInHaihY0ofZKPHhTrril1dFzHR9k0dEQAGAdUXjTgAPjPrNkPWDggsBhu94MUInB3Y3uozdAp65IjDYBe8lDgGb0mah2yIcn5M7qtaB54TCymJgjgn7rOgEQA4tn6CUypXBnVP+1EDv++RD7QD92wiyxaZcFsEJm1nAPvjZL28UPNxWlJQdZUDX35dMw9qPzTiZv0M4vg4XTI14vY3Q/+f27TuacSxniisdhW17kElV/aGLm9CjzYeS2Rdavm3Q2s8Ah9AlYygwphCBsBoml3+RmzdDj5lGZrfjLlkj5L8BQTCdy567o/Pu4+Ura2NCC1rUloktI4QuxH2UVyLgWTCyFY4FoPLm8aTeD7uy1QZ6MwbvHEFYs+WVy2Sh8037qzDh1cew1JSBMBkjZGQMo9WS0STFdw5BXi5wLh5B4sk/VHc7YtU9b0OPwc+c1tF2gqesjl5zjxAyNdfobEau7ZVKzCr05YfX3ahBwkLP/tzj4nQXH8WcQ3fnnSU6vIf+P6rAxHxWELkCthi1WCDK4siekogK/85sRkjVBtGM1S91RwJ0doavKl5nyyoUAXA/fxjxuRpWnw3Qv1+SENKTe+H+ti4ylMviszb0RaMJ94KJ3FwwWYDhABF/tr1RpF0ipHVyTgzAFXgjv98XKaIUGdXXCo+iJ3A2XYjxnJN3HeM+UjAgYRKTIDf5z2xPBYeYjMc4aZ1Hxq2+nC3yJU0cjNpR0CLGCEzWACxMBAQ/SNnjwYjemZbI0B1IP35s2QPyNfuJ0z6bCkbd2jy1LWBGGwKZY8tCjGkizmnZusySDUxzTPTrd+OYhuwNbKX375OjSAKf5YHnH6ELkragaxSJqtPbcXdEgBXK4hL6W81oRhJqPWvtRgRww9ZUnD5WYVNMKCwZ6/NJpwZ17H3FKX5wwuQn+ofqdjMK/PvXUWEGa1rxiKksfcpdnLyortNlh1wKINPOgRAgFSlCJh2X2w4TDC8Nrpz+9wWsdNNqzEWVCqSY4P1eruKbZ47QvJw9GYSfhpJb0uAbWSWT9u97bPhfZQfGU3hqfHbvsv9LJXZ6e7dpomcJRXhb4XiYABLBL65lfXjSQ382gxIzXPvnhGCZAzeFVnjhZCIuZFzRwa66hF8x8wwJx4+qHlMl+Q3V6WX4YmM/vlGGfwWQrfppNGwCHX/AqAMYcFJ4rVkB1B7cEEQZVQhIreUNsgobt5e+uRxOreX6POYEeoZB1PUscbItAWa2s9NVcBoWNEhCOSqO6ZTJG6l20P3dXYmIvdxBSsUWq3BfTWdUS44jdBeXHWmQwAjuTZwcdxIe5pEylMG6b3Cy6QPxBkdQXGJKSFKQmkmnH69vzw3hcQY/XEcJPEvkXSxeFcmM5Rxz+DRpmIgdcclExe75BQVOC5af+IizULrZTUoPXw3RSswLQ+uPRPJIlbQ5USvbZk2aLHZCs0QcUvtRu89hrtxGGFzDNo9N6p5ZkIue4+Fe66+IH1EuBOhCb4XfWTiNGIaQQw/YAtj1jLT2LJVVCdBN65IzThkDloL3y6vZ8rW48UZziLckj2ytWtSpk/H5vx7MSOoxwUsNAC58cWC/++SoRSdN6mFQQKcqt27dzahd2MMF71KzVxisAIrdEoMVcgf4U+5Xw6Pd45wSJstIHCqld0zR/wRzZuas1sUx1nOPxW7wonTQ0QH2hgWiaJL1xq/XBaI9gJg1TrXff5whCQkv9aoQMfD3XA5llZl8rizjUbvwU76TdI3ySBT0bx7jWIeesz3oAvC3KmauxUsmCq9ZpPRiwveIF8PxWqsJ4mXTNnfi8GHtrPJdrRWs5TMvPjGQz7MzvOPaltvWhxngaBniOHnCQ0OKze4aSm5ifhIrhdxAPfqm/zwR9hBo1Ca1Riawt1TV7D48Mx4ar2N0eFHoENNRGdTwAQFQWLrPpVe/Ska0CGKvWWub9PR7fFzoP2BxdQCGVLIIR+9ihDMR0cOeF7xYQCmdinfa4AvUKUeKssmBNRXmb54pWGY+maYYxc30XVy4vXcl2CRPLeL3vAcE7yZJiNb0STkw1lWCx8JnfEIikOK5gxu4BtFZrccSjJge9EU2SGNbKzbXhPNlYMUtuAqHRQ/EEWd+eRldAU0JZf7LfVKrPSbDkwHk5euYuRAybaEXZVMfupfLzGOm49gyrx0FiQxKEVQZWJP9m770p6NOHC8h0fZZrZ6Z9QfF4xRaKPl/vemNzmDjJ7f+kIHHagEAw1BFv/bIAy/yyJn/zv+LCe3Oj/9lOh1dOESUfu5wdizBk0pXkJk92QoUj8ke0HxpcV2Uick4OkJ9FXSgEG49FoaR9Gj8hcOobwp2tmBgaW6GClctLbxOlptGZ/Yr/utWLjE/yV2nzf5o4wiuubL1CL/a6ZV2xS/DGHJMVLomxbnCCEjECzYNLxg8LZmZjrM51TBl0DIp7uyf1eaX1gd8kdDx1UIzeF38xRi3m0VQk9MnnCjiRUMLCmyj1q7i8BEYQ8hs0o1SMbFR/vEm5lLHhsQo3ZXlgJq/dWGuzKVFrs5aBNSDq/xYB5BV1uaJpWSFDkFR4AnaYys7/InC2ZxFCPkYTR6fpb4GcvYsXXt/8sTtlvi953suVnLwjLG0jNE2/WCbOkbSNcgB07mhb0lGrfjs/YCT48c1BYINaFWpLmZKuN1BNYPQwcZAFlhbW8JaP+g89cubzIQA69xndZcg5d5nIMiuogpW2pN5g0EV22x6oP9Us0sNhOsUSdeYgWP+FQYOvQIEA8bcKfQcuBKLniisHNOPFapKl3pFf9uDYQMfT+a8juXYBfkTPAGm6K2ZICve3cTYw/yX8lXP5SUXUq/l66I4iecEQcz63zK9RhHtPenGFGShRifcjpWNqt1Erchb9jpY1daFrScr+DaBO98mJ0CmFlD6w6VlpLY+2ZsGj9pzwe9s9Lmz/V7NWesXKI+jH7lcQfi9PniHnHTbaes9T1Xs0Ejq7JfWpLgpNK2acny2wJgA0oBVaZmLVOwS8Rfvm0BayTktw9nJubGTtdJiCjyD72hRfd18SYH5vkTgHfwBPdKou2e9X+5m4CK1oear+WpziWqUdZPWfY3B1BYDy6kgMwPIoj0PpreabsmJWH2NeE+uJREA5P6x5lNq7+ec0D5zcQEBm94wKGpFsENGxqA25fjEjn+txVtp/8ESPXM/geYrSEymzAultMyh0FUS7i2Kn4m5OCMMtIkeurHKsVFPOPV3rHTRoXfHWPbTe/1sh48ID+baaeqZxqBwmk5CXAyKnvqsrPvX4IWgiqw+XVD8w7BFEEbECTKZ0ljvxz8kXrOgcVdNTW1Sw6J3Tyt0lCihFyQQF3DYwRkdev7nwOv8sxuiVSLHV6vFJuG/r8KcIbrpKYI+c91XVRfBJX6XJayWntx5WgLAeZma8gnYpSTcIhRFFLRqHrtaYLsQefrdBlnR56GVOqzZOrucIgr1Xc7nJQvigFwkAaQqt9RwWUW0rbMfm8IJeS+f1Kxyrq2lHSWrNh/uL6CYKz8oFB2VfVd6VDOqPASz1o6cb7nKHBsBO0UfJ3DzqlYQXagEKd/R4HQ11bAVUTtqDjqEpnCWFpksyi51NIyTmKSaygtaKVzw+KuFwOGNVTbGyOPhpFhYBTbyyYM7uy9xXXzRTU+pdr63rT9lWqOOz8nrPXqvwXq2tF5kgmPCNqLLpiFO1EUAXR/bESuL8LAilzKQRUzjgO06Hp7i6FwmhY5z6m3bFAKCkUmAibho35lfAHMCntb5SJa20XiITdTi07flNiDr/NSzAXWVfA2/goZg8o9ToGrAaJVPWQBOCdKgSuTRx7CivWn5Q1Y/CG8vSDoK9s6OZJX0wzAm+EOeAtfjE3ud9gYnUIqo+smkW7nkQ4c18ZKpRPCsltlwFr0xJlrquk+r7Za1g4FTC5bfPq8vsH3HN/AEXFomfQ8Q+SP8Gmf9BFgKMwzY8I6J9cA9RzYu8a5pbNb9zfiev6gryE/8mLBwRcPYvI26b3hC2MIwesvpLcVAKNn3Sa9giPHkGZYC+0LiFb1zehtQ3zHxmWYW5oqVJWsAqNSDn9UVZScIQFFCwMeXMu7Fs2o7Mk+K7Nf+7oXjAnO1TyRuxv5LrNJ4gaNIZ7SJqeUbWNJAr/xNmTrvBT+7GZGgQS8oskOTJiNUIZ8QvJKrz2axGi4lGge3uyPOjROJHNDshb/ULWT/bbwA1wMS4fFF5L8ixBtzsKMfYKS0tzQWZth9M+yvPHtGLQIYTFlUAcxpguyeO35HP3Bch/MAATa5kyF0jxTvBjPKoSuDJWwAdtq6Dg1PS8zOFHKUpmTL2x1paxRlxHaKHY2YJGN4D0lHT3280uY5U8CLc+eaaBnCQGrS4gIoo4yby9BtWZi/X6BxYAMC6s4L9HV0lzseQ0B3xB37fQz9oM3bgkUOBja2IRZo803N4fX3ejIVG9qN66h1wie5R7jrvGX746cfjnT3Eaga9VRdpC/vG/3KCT6hMoHVlrb91W/orsA3xmuPjYfHG5cD4D5Zf+r16TA//Z4jk2p4bT6Ju7SOZS/g5SuxyqemAn+gL38kmu/gX8MFxNwMvnE9zLs6psbLWlnBFm4AMD+qvZILawUmOm/7P4SgHnQjQuSbxcT8fLyxKMZyBGNWZQ8Bu3jJSD+e+529uyoA3SjLeDErdV+K+EthUVo5XO7osI+A8Wh/bfbpC+gkjcQtJfuTJmmfBXQ79tPEhxrjll+EFhFTIFzM5cxYrqcva7o97ZhSVcXUIGS9p5N02UD40Yt6iWmgcEnCdnV9w/4W29xKfZKz5ocnOEjb3gc4VTPb0jSevYNnRi/fIs0jCHK4ISybkr+roajgbrC/nK26/i+L/L0/s10oZhwixmvVLlMqTR3Z7aIxG8u8UjySWBFn/DgBXJAvKNRIWpdy+qJaILGaao3XkayFszn0pd/DyxDjuyIG/lvb4Ph3nGxN2WJjqu8FEr+9BMSpZ6RPlP2yXYhTkEcMc8sjblsNsCKSawoT+pFfQ5OqlUEpOD7e+zvHnXk2ivzYweWVSj4HvIjxM4DYQEuMlDqdlbt7aio6OdgREdWPHFi6llpirO9mDuSFu/SIIPMzXnZo2PNFeoMsJQE4HBhxAnu9HKb1NLh1xvg5tRfDeb1dOPoZSFMXmq0i3Er+DtfjWb4bbP68CBoMPgkRIge6msQinGdZse+FdB1zXIJnU9dE00Wf3MYYd+FDOQ45s2+ZAU9P906ESyLUGfiq9f8Q8QyuVWF8tpgSfE51Mf6VHqKr5EC72oep5u18Zk7duX/Ted3tlrr5Bz+VXyFerHr06Q9JGA1yvf2BMMLXacYyZ0DUhENxhemYMLm02c+Zo+/Y64ggQ8x60ovV6Br7RJXggeJ8JtcSTtA8MAts4e0N51B/hAQftitM8RyJfH3yFstAizifeK2xvCwXxNPbeQEl0tCdH6T8m0buw5ChZprj/kVtG5iDxkWWlhV1tO1b4SghmS2QzqMnsVyFf0GEIYjF4bJ7Pp0PxoQc896nAniUw3Sce3DI4v6qhC6lowzmgJaY2NXeu7Szpgu5NsCHUPD6yyuiP/5eCnYqEPlPLyGOyQzePK0Ir+rJy11Exi10nBe40DRE9HI/gjghwGTwu772Xs3rElL4vs2J2ZsP98OpV2W0ENcA0uYYoW/6vEI0cTiEx+Oh9jT2u/3sni/FBLaLeIybm31jNkCgM9agL9H5Pe5MObNt5b07PiZy/vwI1Liua5DH6uEMf07DHwiMJmlqArMTmZHAx7mSE7KFeoH32sAQ/OyuhLbRVkB422QlJGjaKJ9Traf9jWavVLzMy/G0u8IJROOrTwWT49MdEoTMjBZbNhj6XFGrN5ZfPgGjkNRfMezlDxOZEdhD0Dc33mRYRV3wjtnNIgCakq04ynZKz2NL4tsc0CnUh14i6AxEFEf0kUfX3zeC64lbnDdWH8n4C+uoOG8cHWuyVoqctTDkh6//nl32n58ndce+18d9zNndMPGtl+Lrs2/k/7Ql1lWTEqXVZvDHOyQi0i1v7CCJoqxwaDZJOv/64W3kN86Yi6NEVecO835ERjTSFyTeu1zZ36zg6M63jvyHhay8WaCx8z2LAoFqxZyJsqBcWjteK42i+gpHfkjraxnPWNGBNmnyMkDZVkzKltPTBnyNXE55dRfBp+aJEfPpfJnyCGy4BP4DjgEWRM8iFdpwTIzJyUrE/KdtDiMPwmSJhiO9qVNxxl//H/rLpFxijqr3fKJkN+t5AGlcGjZuIySt8/4oaUlvO+hkqKSr74Mvj7YmraONSoON0pI8qvtZIY7OveqlwAGdccTuWEvF0B2dyQmSqFP5G61mnLnSTq6lOGGilnEymun99Wnx2DUAjdf0s1aXHfd6TU30oHPiei1mCE9it3iSoFjaARF99Pc3s0WBlmuosDTEqnBNdWOtRIA4lujMtwfFHq5bfsFVu84dQY4ZYCGjZX9XX42ipzASiSIQxhYvMwHfexwuaPxwPf4ujeWTlcsV8aFso1ks9lCS5E888/QCKgb6KSDTFxoA+orYQ4p7fhu69gKo+bh7gwi1vayhtEvo7UHGtv9ifEnSeDzW5NLSDSjNg8eVbT4sOR6dL8jCjf16mC9Kic2wWsiZya+kC8tqJzwfhe+NqTpK40nHHcCz6a/a4d6cqg1sO+w14+3Qrf5Cg0R03qoPSSDkayg/XDSOnbSkaZH27gVnbH8ZO6HyDYXX7FDWShBup/aNPEvVJMLEyk+wU/OxpmsaJ+SO+D/oYFdRvx2FWTjqu7zokunIoIkyH6xwtcAwZ+Hq3l2rGNWuaa3xfaBxSTqPrXYndrU9bmzcEjR9PVYfH641Tp4VT4cW29aTm0qWi2TVOvhR3WqZHfEK7bsWdIRDQQC3mKOiuHz/am8CuwxORqVgmzB51g8/3RUxbFpjP1eqkNT2L4pOgnMWRGphED/1aatmblfQl71rGvIMehVtTMYpzvdj/GTcScnFaEplHkTj0ULgU58wzFynahXEXLeLRM+P8T0D58mlIbqoltujiHj8+VEOPqnKtmj5VlmWitCCNV7ZrrcirKgDnHUTkWFg5C4XczpaUKD6s6LMsxUl/Pa1zXcHwo6vlpZKTd0b3J0vsxWt1RN91BiGVk0NkvDw3SNDXR36fRRW6fDuA2rhDq1UJ7qU1xEfPyFCJ4MLGe2k3kF46UzS9XiFDissrTvq9f9AiG56iFOJip94uDmo8JPVB8FtT3Z0HpdF8vOq/b3hZOSn65N8iFSUaTvYm3UjSe2ekc+QxYakmv/zuVJyu2fZFvR9HkXty4uSSfd4WbJ9CD8xGMNa93P5lN4cbmJdUPrGvGNUoJxsoE5f6MK8lPZNgp76gu5m3Eh5Nf6R1VLcvbt3LS8ziGFznkAPb2TWVzxXPAgFlyq+qG0CVl0J9ibz1TMAMd1xPROHOAVWQ+df2UVVgRB4dVNMvXfh1NNyq5LP9XZ2oOTP65nvOK+Q2iKTLNfCk0FQPX171re5lXMcNKLjpffskmHVUPokaMY0FRKxsoe5BhUB2w2W9jclpoSJVvW+Ch0DBai4564YG6XhCOqOXkVzYr7ZB7TWXpu0G5tg40LoPDG+51UWPYPZ2ANeJXfopfiSbJqaH8CZxmVink7LWV2c5vqEmduea45cE1wif+Do4txabcp8THzr6hHIhef38HSfnSyJq3zAFmDItc2vC2wJJvBcbO6dNQ1U5VPwiW3I63jGApXyby8ExRevbPEtRj6eJ/ta2q/pWkaMbyNu9Ko0UELLm+Bk+If7nw8Z1Xd2QuKfb94zqWJT0lNEj945PVDgV18jX3p8MulsvvCJKHorH6LBucB7pHQlWfu6ytYlJ+RSjV5Cg+Lb1JrH3yhdALEEE97Aoua2EZUFqcy/GXCZDirVZRBmSCcPlMgRuexndasQyZ/uJGHgT7/QpNE8yenVIF3yDfiVKpB/q2cfmOYUjYwak3uDrvaW7QpROQAbjzQPU3CUckLQfO5Ofq8hNaY54EWaO00T/eOonGVXNGfJ/AA82O6sQms/1H9E8La7P8vEaNRPNIVzHzWu7tJ1PH4DM1YydjS7WvqpG91cuiAhJ7Iq/mhei2HBek/WU8mY4Bg3L/GFaYBe6nF8ByMIHm9xxIiUOSDD2nCv6EfpUvYWZ++aURYGVmA1PIKGopLENb7np6byz5/ln7u7oblRog2OXAPMEByzTiqDlhE5RJQbNOuNVFdvzwnsHz0NFYsu6tD0hEqo/ktNCd1OSKF8VnJ8TBBvaWDR6OW4VVaGAmgv3ZAWZzUrVxuPF+uKluhCA4MUTWWSjcyZBAC24EGT6nUl8F4FBex2h7md3YOChGGX28tsn8YW7YxuiQuYxcONBKaaA+G4NVEsHAdjo/+p0gT+GBFZq/40VAeffK0KICDquRSENjUolLLzurRvYDzPiEmIdnw19xR+etUkil2gQ0dzh6wkBs9KxZ3duMaNoTr/EMnGhhzdfDXuwcsPA3/YXiDZnwZAhyPShGYo4nTR5+jRUd1O/4FiFja+Hc0XWn2yaAC5SkiCCrbq/foUqRhSsxUs3NWXgkp1/W3M4XxTJ9+Owi5ShEEH+bYksvFc/TvMnEYXL0wDs9UO2Afi4Vlg+zSh68KABwhn6gGSDl8i0A03mT72U8vgcWSEnx2mrlBjFZYrVQ0tH4S/ySRopQ2lLFnZDgYyl+SWgK64/4kMLVlpC9jb4x+pqyiOSJmCJDjZp7osJ3Kr3g8yMMcLhzQiWw7VcVYwRBq8cRC3E6zK2zC33AG6vSQyk/Oon3dU/VstVmpnT1qVPHtwMw8s6jBAO+lUwo2oBQIXjjZjm/3eCRLB7I0kqRV1+jZfNsLdZJTiuVZy7y5fsUWDbCe8caXvNZWVTZcT7HoVxw9E3m5VATvXkl9SAODJ5f4Ex3HPa3c+ikGRRGtsftrKT3g06603JgUC8rysFDx62M6QfqKM91xCbfPI3Sl+foGfc+w7jWmvrnhiIC4s8I4DoIHz5r8ypfvQ2tEMd4jp5Eg5zNNFB3Bei0HZ5WK+BpP11rcjPTnkMt7xTAXrZPTl4wnFed1LC489uqmv4lZ+JUAc9S5J/YfJxlvFQ1ktzOv4rlJaRF4cvFjj46oSeilM7l586Kfu4sAORGVdtTjkBCc9V5KGlAmeZddGO0Tr/hLRAl/B3j0GPt2ZwoYkuLGThJBMa+JNqtqGF+ntvrqSI3HhMsnnsV+To+qH/ES52WCbGwRu6wha49M6p/jFboFwYjpksAAvCT4fZpY5LvoprU4ckqZ6QJG2BG8j4q9XQxxuGT4Hf8EWJ1pS2xufSX3p93iy07owjokAVXfUDe3RsIUdBTXKHmlb0CDUWXQlrsshpI5n4BZENkpQNiUmGC/0ogec5Ty1Zn6bhEZlUxuXA6DikG2fghXGQW8Bp1mCVQgrth4b3Jex4PvzKeAOEy81eTULX4Hnh2zZ46cX9ddK60/2MUtGE8za3q0xlc/hXfv4SAVbTj37xnbwP2CXEZMvSJ1Wczd7rmjsqlpE4Ktm2N/mQ5ntDdH0Kx/nu4X+jiv5askWT8malsMICZVJtmQu5j+X067VFurDAzvTMYvRugDZrdzKvoKGc7eRhNeRx+2tmi+9KJpjvKuNhlZ+/etdXySUxbDUVtEPwzSxKBo5Pxo4Tq0zdruHOe0D30epqaH1++lV2CNlUwRp1uvcg1DprU8bxA1oRqpfGlAIrcJgbgcg904FYgZVD6MX/Ghdc1rQPqej+R7uqDbONgJIJjfVp6j+GRINCCjG97IbR+d5ZjuyDiREckKwj/E171u8QZZR0oJrMmjWOD64GaRRolQEKhzI3pk0V6ps8aYAYIezXzlWtsi8tK3fN5AAuU4uuwS/CswsNFjTx/2TVF1UVvtSiquaQxr5ezhcsp3CQM7lEsClTY4ul6lVeqirLDylBjow72TRI1ltjDCigzM/Xr4ZWwgv8jxZT3LouOvmwEhK1S3TFUfrC+vk7ueA8QbKwUtLUqt4LSlKP+XBSOj/TBQdKa+gswKeibTnTIZFjGr9DUgj1oWf4pLA73YSQJnyhytKIl7OYsRV5lv9E7S3uqAFGGCIC6SAsMIxERxaeGPbWhWHx3vsZSZRRU6WVOUiGnSDCCAtSLqFUfck9dkGfNpkj3xjdYAOeia0eHPeZx46BFPDiPY8xoD3wMEtZSwRFdnERCbV1GHU+y5bJPtyHdBC+L4twI0mnTJHszebbIitkFACx/C90+mCTzuUtXWEia0UBRzqpSxVKyVdhkYIxLNTNfr81NXpuejGoAS0Em3ITxEP10hR5YxWRknHaZJ2qiIgC4CQ3xALwyW6HdXlTH/TMnlrhu2Lzb9h2p5MKhs9jGJzlvJ8Uu+s7c2md0UgiQlZ7045J/l3p6otMwuLPC8BpwcyUqvT+JKOtLOwGNvKc9eVdBi8/Frvel9cx2yE4hzYoxtGDSZ3MMDfQMciMBBLf9VJGLPFGqGXLPiPEOlCPobbtsWb6pTP4C8bAz5zgA+8Pb8N2e5d42YtOMl6lEPP5VJsSp/KN651BT+u+1hlLzdQWZ03K81UVg/CqNnS7Gp1yrc53WokPgLsxCuLirj8B+FyfNg8JGdmCRhfWeo+7TgzBrjoMrwzaakykzhhp2+xcv10sJd8VXAl1ApfhPw6RTU4qd6Wopq9fEhNFuNrTM/HSKGNGxUh7ZGFfMyx7PuhLZ5eBl3QPMQFDn6GVl/R9tzvL4DabSmnfHjxJH0IOw5Jy/FlqC7ks/rfQZarFv3Z/ZetYZOIjmoVspkdoq4LhzGLqYbwv/OB2fKyY9zPQTVJxuj5dRBD8TjdYKP53bTBf2kkzt1T8K5lMgPBsxoLA7MNY0Z4gcdkilrgOQCc51HQGwWg37wcBimVR7HXyrjA1qBrPuH78pVJRYSX0QebnIfBOY7YKRJm2rWI9Zdam/bwp4mzFS2DpL2d94JNxHLFcqL2IbA38uuwGeExBPQq4g2dxXv/nzQx538BazTcgo5Ql3RcfJe5AZ/6rmL9l8lKoxY1L8YCy6Sk/q920CeCyJKBB45TTjs3+WgSrVrBxWMRIxffM8LJCnmRYBJgQ2ldYm25Ou8Nzs/COOdm4d2okRBHI1F8riyBzYIj7v3X+zuclKuaAKomA/TUouaR4qOvnUdXh1bCVX088e/nceh4IEcVqX8nVdQuo7WUMdUCKtCO1SiKD2rjOTGPwqnLMByHnVBoNTZoY4O2y6f24DhVntDntlYzG+5L9V/hWTSFkotT1xfHeDQvqDW4dZZi7sIsaFUzE1xj5su7KdRkez1vPFCzPYTWpINzYhpNarxltlzHs3R4k3vICPUT814c0SUtQTrRi2venDc4TU1beE2Lgcice397cq1TLbNJPEj/gNDFOL3rw28tgHzrkJ0XD8VCfrwutIjf+qgYL8XwEj3ZicAoLsW9UkWFQspSTxfk5eRkqUTNY2E4qXKVEaoeG+uUuaRiXVNXcVJTf/NztS78mnBfCBGiliJewkWQY8I9Ty9NW/te6owpx5KKKYaiFSPqgUC2lonASwllx88/iFG+oCYqTmiGOmxUlqhLobEFRl8jXw3ddQk0VzL7+kl9sH+VeaS7syYm7NCGBRrRj7efK3kpYgscxEEMGj1azSvITp9dcvHfn8epPhPlhgxbzj/aQpVcB/y4HkoLQ5RPyWPRbMUP+z0PpZgVDxEPbgGukS8K+robKhw8cpvQ8bn8DrrKplo2ODZeXDiJbUpQ1hWtSjVs0UTJ8LHasqCNIscKiaC8yqgrURCqeHAkarEbJsvwV7iBNBkmD3FcvllAvU0hgb+5j+D5Qhyiu7ZBcx4hNnjD8i4tXrt4UJ+P4kVmb7IoZ+UXqHYVsZwcM0RRTra6RkBcUHgv0ohoNousLrRFgwkz9DvT2bSKNo9aQjsvsTXqIUvEiLxhU1BYIFCGkncZMgBT6WuLyJ2cwEQ10IiWLkNya2thFPuY1YrMFWcfsAoCQdWaoo2xxUY/auf9J5GjwpIuF3GFhAjBuZoALE8ATF/PPrlUFKPZc5WVrwMAOOUXwiaTrvzwG7l+2jc/8UjEXRjwjSae//9dPkLI2rO9GsPglBzGEcjfYNIJRBdOrDv5kLPe+SgLGzOz/2jeKt/VOgAvk5xOOqKoXj+KfWfBMuKFK0uYvAEPtaziST58Bt+LPyphvAZujMMRaXY/4RvswMN5Ec8RZvkVsIU0+RZuqNSIFAOzlWBsmHNzC9L67rCMxlisPEXtOCklJ4SY5s5yXKv+xiWH0EmCSYF6fj8zzC4XbNm3o2HUf2uqlG7eBAhpSGZmFRdPnNvsKV0vajVLwhxzb16vQLTAdnr8EM0gx4x+INwBxEJ2zjBQIY32mmjavTl3Dv2Z6fSMp6yOEw7d2PQOGDzW3f7CBwbie8a3/p29oYsSY3NdPigMJpUCx2y+3vJrm+HsaZIfQ/HzlxvJ+4SdF8JJrHT40VnVSGC6EIYN4B1+b4winuYyUUEmoRWP6j2rxJM4YB+4Xxu9FetvA1MkrR8RjDEelsL7145Npvjhj1HoEW4NClkPT/sIpZN+Lugr4cNvW8dXB/JIwT/YA6EI1l3iVrOHGnE4FXtMPlk0+X3HMUh1+Rtn9SJTSCkj8i9sJZ4F8tdqrWOmzJw5E+QjCePS3zsOKYaXjOVs0vuOdtffzqy7S5gvcX5Y+mox42m2+fAZPu+tRlcXnfNAbykj07hIb5i3SB1UAyAyaQpKirKLwGEIdglKPAxy/h3krtGmQ0FXYc3pQ8aPVAR+XccoWIn/bXe+YY830MRO3CjeGdC0QPLXG1Mtm8f8BuIbCA2Ra0WK1X6+xhIAjVwvruQoFAE3GZKFZYtQmlj9UyiAhJmzwB0hpeWneDua+mpvG11eZCDepk4Nnrc1i+di5sl7BT08ZhYjHIGJ9gsNK0Ib/7yGhGU4iOIkhAXQeQdvgvZgG7pcWxxgq87v/CUciB00+hkb7cm/0IX2svsQ3cXIFmLIrWJ71QjArCiQxr6tUJa6aFR4zDIjZd9jfsYDlT9YR4BRk5/S7TbM8v/FYhmJ/J7eNatex4TPVfVSNepjKhojqJO7Ho+e4Ca2YDwe8eMWG+1nqn7EnfVugPLTwm6b4dugiGl4dOTy81Bj/vgfJonohR6AWv0wRiPChwDU0GcExA4YnRxzAvC9SgOAUzMlYGTjUlv+mUqzyYfdptx9mF2TaqPhg49O0vvItBAnfjztbnGhm7PB6SzDG/5MJkK4vxMP9OiUT5TIu7fq0nTmIKGIhbBCIP2C6AscFjnjCtWx9qyFEm30HXF6fmzYsuFn1OXcVDHbbhKSSbCyAaz9Cj6T/X+7hz4zWQihqqmmvugRwMLxl2PNtlSqreGoSpeVZUtysVi4vsUg50QnQVx+jzkjR3WnMkqu8wFUXzZuKgvcfETohOfxU2sOMcnzjU0zc6HsXo3f1mlhWOORk6TJc+Y9fwPu6whvRa4l9zOSNZDPra0gdN3mvyIyqyA7Rq01P5A/lWW48J+FXUKhfX3zTcQsIJ7oNKrA4JJ/hp3iC+gfTltOCwM79iquYZKnviIu3BmGb+5K+i7VGmKB/2odbvyKTrlw43UbBB63Xb4Ld+gqhEOZeh/DxrEecpBfwZEbz941b2vQkMQgaOBBxme4OLiYZ7O5+avqrX7dH7XoGOSGU+L+DUpsKQ2lGN5WmQA9HBogsS12daSBYLzKVLpPYcTc/YPlJxZ8LOy4vn4hsQgEDhKJrOH5c0QPEeFu433ercEQBDeavE/WAEmQkZOdyMYelgJbmvVRsx2DTcfri0TaYKo45xKG47DEs4XGxv95NZDIWmaNBdrzW3h2T9jK22Ea9F0xSl3EJSlJIkG4q8rSYzD0Ng+6SPHfjTqanTqDYMMPb9TBYIA6egRz4XwPBJUYa6Gqrq38Js0pJaCYjMwtBfq68v9kEVH9oSok60+0oQRXXF1urXV6fGIKvU91rigYWdviOuQYsPliooYiEb4mUcMR6U+IMWL7+zdG2LkCMAfjrCbNcNiTZ/UzdbM10DDLisdcGUy1GuNBf5W0o5jhx6ZEJEUt532Dyu+p+r9B64w8DHyZwD8eWnzfur1XhU6Efao4mRmd1eLLZcSTCkt2AV4eKLVc4wc2iIcclcPjrZunUabNfYFOJPZrgg2Xz10KbSg+G3fkGodeyQVP3thb4Ue8SZ1e2TxFb9WsmvJLVYcM+YfNpjQ3UDoL5FYY+U1EyEtpZo+9BRkHelhvKGFaqXGV4dVrHYwdO2ug9FwWwMfQl9q1AkalvhQ8JNw6EH4+NjpIFqdpsmQK5P28G985ntCepAVOT8WKwIchem0AYqwQ7eiLi9sRiHT+7dps14qOdxGED2Ij6oFAzC0MrWXpEJm8O/fX1xpUgMEc3ASAjKMKUxijvzt6nUPYP0XA+C6kjz8nxtJwuOEhqnflo7s5YBpa60dWRnruZv+6ABOe4MXjnglKYlt+RtDeW3Avj2UmsWOrhs34MiEPDEfMjUtuhdmwfKfphTzm+AGke5bCo/okh6DZik0bbwiodxDbt5Q93TInuCzq3H6wn+GXFDuS9ocKIzupD4srQrNhNvPLfQBcEVqtJocgW+02WMh3k+/UK+BUmBmL1UqbPgVurDCjfqgk9bLiDUvoZAJeuCk6lKv85shzyk5Yj73AqG9GH3GgN0XEJa2JBzo0u8XIOlrwZFbRx3Am48WfiR2eV2ywo9p8LUW/6al4CYh/l4liMqx/9y5V8Q99VCGDIqCNY8pjBYiMBb+eKLZxlmzvY7DTly2PquWBHX6EP0K0XEyru2T6dT6/Zwd91+NTaHR+LzbeyK1mXwAkimCjq/BzZQhwxjOVbG/IKli0K6QLHS7To2gVakNC+JUYAkM9YehVaEkGz8Ncf0s1HXK1AKIcQ1P1yBARF9/kw7UyPSbt8h2g/UEFWWDVlaw9xMv56Rku6JowxtkrPla5QEZvMke+nkRm5eQl0LyCPx9PdHyzoj8a6E9UuueB5EsI8pnVnLCZMdsYPCFDj+FS2cRpl6ln069DYhvjrogzfTXS30/z+tG/ZAtLJCOkKpz7zFiF+cEQImku6kS8gDUQfYkr8qq1IpYQJXrd1FucgDJxRSofdlcu1fvhWaJvRO9u2CmcranAABsKVgw8g2kjN4+3otgGjvUwFlCNiEoekZVW1EkwunVrNcNdqfjjDr6NRim3NrwPTQU3/Mc8G/ydrgP1XiL0uCrJ4oKfCE6pylCiT0nj5KJTqisgECk8SzXjU2p7hUKyk6zjtz8ahrubfpP6eTgnybX6VpvSP0xLZ9oqYZBIo4DLRDfXb7RfWZuiuf2KRPciqBDcxHTxhzLZKxseMDHtPrhvaKiTLQcmE91CV2Q5hmuOu6hRAzbSPGxl4bqwILUresQRTGqfGInTAo5ZvZ3qNBIcZADFqfbD0PCxj+IjXihkcfhKDj+fPBlbl3NKCjonMBbSNpTt5LcHNn6CBvwLmmIhILRnbRTW9C9Qc9U2+Ho3DUgGzPwqhIe0LsfOx+ZbsaRWPi3Ig3eluwRBVWvBm/U59Cug8BR9+3ZzUdyMYVF6cB5PqKEeue52WHrwp2PVYm4JwuhwG+9HbDbxSrhuCDFaIuLArOSH82l0iEO/8Fzy2KhNqEw99jC9txc9QEZ+QJP+VskBnvlqyhDgpoh+TpPoY4Giw70cheMx/nu6VHryeOth4DwU9hmOR1P4pLht/KujgoDianmb/jGVgLI0pq7SsiK4qeNljeCkMpbJiY7r0/+rdfuz9FlCP52mzGis0RxVYWc0lF8h4Jy0J96Dw0O+lXMyQ/lL1IO4mCCItE22UApS0PZV5R3m+QxnHQHNfRYQZybLS/QUeMbbWIpbk2QwNPE5HNF032dtGW/FnAgd1lmOjA9sVVHvKBt7LcSTj4M9bf2uGq7K7Nf/nJsXllo6MkXRjdWYgqzJ4Lga20zTZrr11ElzXupAMiaGlyUGqM1ZK/5N7I2SGzj5+rBYv/n02wVMRwkYPP5Wlnrks9lDkjm896qVducfBFGAEnOzhx3AOITtSMScZIs3GEJ9vdCBmM6V7LJabKAwD4cgNRRJK/g4k07xBe6eWCe3l/wl3SmaUfHErTVAHKDnkKqxSWvAUsQ23xmY/pPbAWDsnPnz/0XtrW9KErRuIPhLzcSm+uhIyFgeK1x6HYX3dy7bO9YKzkOXO3QtrEi5r51fHZw6f1zeyEb/lOUhQbNzNLOWl+AQnEQdFCttPmqZLuOIdXvX8R1w/lP+wFnhWR7dBlk0ZomCFbGyRgw+C5iFcEcMjTnyk6B7xNE6mmtHB9YWLhRzrzoIt0s6j0rQ5onjiYHe97xt4mTHhX2ehuPuOtIvKxCjUfzNjYmG96bHcdqvO3/dPJy+iAtR+BL88yNq/AJFZOPgKEyWaMLpUpP5FF9SLIhFTxgiUdBF9wa4kffHCPmLrQYJFnc6VKmLJCTDFHNBbjAbH390mQI1MZuuIJHVDrF2VdzfQOlbM1fp24XpK9ncVd+LFGiYsVwrObWZhZkQPmQ3wjkC+ngxwPEczutJ2MAbiPpelkwKuQlfe/J8SkXjST16rvizCBU/2drWyat5ISuJLq92kbtX4XDoUhEAWeJQCp2zweUBwnfMgvQrQVrQmrrhKVmQOrmbVv015dPHxjWMPJW5rcoGideGvTkrQuu4VBROib67Ff9iRmeXG1T14wY6/9B4QRAV5IB3VahKCVqJ/0wf6UTUKQKn2vMBclhI2dmJe7yv0mpZeVWMEJNlNacODxIepKOkStozsGtGmg2tw9FXicMZzo+a/FfeBheyplVu/+B44DEP7QbQLZ+GG13+UKu2aan3I6MBkWE4H6rJYiprB/Zq+kfSAnW4c4MXO6WL7rj98qz3vEEwQ4viVHa93IFqs3JrMSXUTrHzPoYJWQbLjd/e7zfGj8gwHkK6FbTFJIMd2ohZa+1taSl8LRCMyz6VIKCbsHFP/tu1XxJGgUrAf/8ng43tPuBT0GEy6dpINHugP5p/t8Ysd5XnUr6Hw5b7Q9/H6dIU2YHlRRx+F8vqb2NVZNBPOehtegMpgiBAShFZ5v9sDDC6D4uOqUe5kF8woqLHMpplLXKMh7LgACloWAPeTd/8gX4AwPlXvXjga5kvZ0gfwJgqCdAjWlAAfYomhyjGxMOn2Wd1qDPo4MpYTy716u6JMNez9AnHV4qjSh+pvfZBpX1GGlofSXNZuGG88MfJIK9Gk4GzygUUXizoWVs0PfiBFnZTZ+zD3tyxUGD0SVm64WI+T3Ftr/dJIT495tJeaiT4hlnfGHnrY+90quD8fZDZq+LQcJNTEZ/QkfJihG7lw98hrwnjkrPukUvdUVvuoaRKQ0Q2njmqR1RWsP9adAYP0Vn1MUaYkcpZ8oroWQD7QVjUZUqZGQz496lmU4p+mXCDCrs6puneUxqMhAecCBr/I+719dwdHyUf0Sc0Zv0j/YoPhUtAgMxnJv+xzcXCIKTn+z9YVVyFkJzVzh+rbXoRvrQ5F2Jgbf8lRGghpRra/e0O8zsXfvPdQhYw8jzdaVJMHUJvIFkibyvwiA0sJZwELvothUPQVdnTO4bmHYBfuK2beNKEY5PQ81sduT/RjzCRMzqsfDkpZyGD25utAzALPTwbkUVW8vCBXXETQTpE2qHX6x1/zA5IuuFGuR//g2VZm3Yqpy0ZUyoW2eoEhlcaPlMP2iA5YHHpO8qVu0bgR5hNJihvndHqRlik8T1317PdwRF5JWcrpr872VmFEN2NH1CgMXlC1zdtnswpECR6cDWTq/toh/I2eCiMOHAjsCuomxATl472tt9yFYQ4jzs6Z7o1xTL+O/veD7yx5DtKwL7d9E4t2XeaiwB5VtKFEB+Lr7HD841aDlUlhpvE52dFs1BCTsgbjhcVEKE1YNIssSGkONj/F+3pbUAepXjD/Y578FJQfnAYKVQ/DxtcMh668jpZWULYRdmtXJj8QUXwRa8hnUpfSXZOdndMW5hdEzirF2qG767a8HnSXHCc54ywGKxk5S56plvxBPcfD0zeVnHkfIIQGUTXUNchnSWmm8meEgjOEKj5Fn/rJgIrC1WJCLRpgzvNzXQoDYBDZiOyBOT0McZQywIfq/0WrajYg8DxcHTncJaDskwZjV0QCrhYCaz+0Np4K1JfbRGcZWz2wHZIEKz8foBXj1kjT4pvGpPw/Mi56YKa14VnKhTATZqxKgVmS9rk9Q8ybUdiMmzijQRR94KIGB2tinONHxt23jOVxHW8jMfVox6P9haUulHBCA+U5RCWqH71UO/4rL6zQq0srtceJ17XgrvJbxijLi1bUytLEmSafsPwHq+jscbTXh7+7+D7rpa5vrdQXYXgBvNZZwMaVo3ErXNF2AijV4fawjMfFXXZCbZgdQfVktsmqT2CfCOxRM3zgboqWJjXtz5bgZPjjqOTxVakEwmF7FSE8cbNSxHfsoA5cKqOd5zL7fUS3myx8dWTJZG2hQSmYnT8Wbz70wIvJ0LhnOfRFsF/i5eTleq0Xt3JY3nSDQ2xX1sb5Ee6NW1wS8mHgP3ST3ns1IiQLoPQfKtQLyzPjsvO2a4z/NzP1Yyf+vRHUl9MVgBnzNNDXiW0TVJHTQ4e1PBJ4MTDJoc6OZSuCFWo8MRajBaVim4DqhV8OSaui6PofbmsKAiWN4PRiz7DfiR96nZHHQ2Mp+oA62s5Ejel0WFICMUAA0TOjTMxdellLLq54MiErsQmPkf5VHK+J/WeRYxF/gd+kL/QIs+n8qNJnO/Dbtrd05ppuasO33F8srk8pR+9ieDChkYM+C7KJPKCANzkVfb2st1LyHIxtBKu7TJBcDGSdtknpZw1NL8mNPdWJsnviOjJK3MbKlQu77EwY+wCfNez8K8KfDWUr/QD181yRG+SsGfJTDGWy42DqCvLjSU8BrCmU+hnFMR6wunjS5mdPLhvBqoiMGgF42YxlXHrfby0cIqZ3LHMljTfjCpz9zqbhH1zhm7oyDVEc2cnv/Ujj8DGhsKi336jP9ydjb2Yd09ZfK50cBHrxQ72fdhXL0Hr0Q1rUyUWaCXlTPPzP33ZBHD6J+SDsceW/el7h4NHwUVPs1jDJqHOEGMDt2cOw7EeIgmMeQcJE3clqQKndjVDcv0rT6jVgaorGuZSaSDBGBPzmgPNj2LK9a16zSP0SGC2BJ7JwgpWLlOkKo1Zf5J+7Cf+m9FQuZXLwOlSu515uBVBDZFEywmMEoTAmAyq6UuWgicI2IAHcG+TuWrtVsWIs4nEUTCYTE7y0/lVSUIhfNy43mL0Yjha7QE62VKrs9UtnE22V6G9O+BWkt+6K63C2utBrhHlA2OhpzZcdKkg2rhD8iQgAzkM+n+3Tbhe51Kn4Rk4arWXasOZU3fG9u8v+Q2kG0EPEocDApTFha7F4PFimKpyeg8eK0kBjuNHMIS7QEAhhH5HJA8lnjGbc7wnFZF01B37ndUyDk9a0OrWIzD4DdyQaJ0zeC3kKvUuYWZqCo1VvUoQysLeDG3iOg8ctKglxUf0df0MedIzmt270gZHnxYe0xCgmpGmguevBioAyQBCYtjo21gNJEw9BWWgtTJyriy1CKHerMfOmoAlXt2oQjId1+Ck3hquzFaS0ce3nGBUQZGiZBjvFPQFpjR8M03WJfbz6hlGgmJM9BIym3ouUXGJNPOvqO0jPyIuQDt5dYYgOeYcrIAoZB6GbPsRwCB88pnjh4DSfy+ida/kiqZuR1ZpoKyOpIpFK0PLJzF/BuQ8pAu7esnZ+FVUyk1yt274TJZufLuXbGdVfXVr1Gxc7FyG7NiXkT8HpK80RONVqxvThtwpkF4fxGYuOv9AYmrO3mg30sMcZX9pW/YVvaOs2JdVrbUzCj00kJnXSF48aqr5bxELK1eUBgEX8EFL3NtmBOIfwMvgIqVgIqQG1gmLxJFeeGAwVPjOTtSesw5DHcWPIrFf1ARoclPd/jT80C2vh4rrs2w9OtslDvI31kVMN2YiOqAye6aJAB+yFoaHcv93p6WM+0OqX/i+4eEPlfjHjtsHApDq9CkLkBjbTb5WbXVO8er+MMFvOrXlIZZJLtt9NPeBP3DHXVQLkB3kKI9/9oCFbpbmiSff316Z30BMFvVyTmBaFYXooimaGjGrDGaA3DIX6MK5JJfFehdEyYLu9BkZSMbqDCMAMWJ8l290s4fdOoLcAhyqR0w9AeTHFg0/sGIg4/hb+hpPCwgOojH3CdxdhDFxIPg7HmLY07JssNcDiPRyJy1tBUDXvt2yq2R3Tzgezhq+iXLRSj+AIeH/Jd9+0e9GH1vRI19ok3Y2BzetfWaR78PKTy4+3eLngwdS0PjrojxVjxWL/tr3qkyI5+z8CKYVtDWSzQxrxPR8TWPkS8mhG/Ir/KDzB3tQlinjBiYhk3DlTrrGM1LC8lUAqvRDW4Jm8tKsOpls/IbVxrVsie4cW0tmCTeyhran8sUeYYikTpfUsq0Ug3eVw97v512lOfSrmlcgtB0v/abBe3JgSiJcOUHCtAlnOMfR7KxKYeIIabSBBQjVVJHmsIaPceDyMQgZsTMtbNLPT6zPHm+H+ykP898CVv4x/wKwaGz79k1zvzdGNvCvcRG9iQQwLS6OZwwinp/je8XzoEI+CwZZQUkckbY9clbuSC/d+kMwvP0Sv7UhRwP4Ik4nZULtj8I2c53ggULzNv7aXuohhm10UlyoG56j0chomyQfxu7U+fG/yvez2n7PH9sAEgddtUIWLplXD1G1T+ESLPoBio0gI7SHHJh2l8/Dv9FV0hoUrVEP80RSn2vt0E8+1+xrCfAdaggrlH6ChQHyhtI/cMmP/yqb0XF1ZUvaXoClF4Lbj4Qbjjoj7S6LrVVaUrsM5gC1L6W5uJ/sR4/OsjwB7YEXWhxr75HmuHidEeJZtcTNkoO5U2pEFk8O4WV6wZVe+7BGXa2QYygaaq+hF2r0q2C5X0LVjaeejsnlruvMaMNlJiKUYVbSrxlnS18WqUN+SMTKRdiT48QbQYw/CkOVGZMOYXCU5/2t78mPOpgLwE/efjIPyfoVhRq3FJ86hCG4caftD2ZPqE3p5nRGk1FUQJo1UE+lxkVxHUa//1vludvxEoTPrWq1TLZVuxEzMdE6tYeB/uZLNZDWtZd8NTN4wcfcGHpx1Q3zu+Cq9/D3nh/cNNyTYXJj0Msg3rP0p1pgilH2CV72OQEee0sJvs9RG1QGuvf5qGMMk0A/J8PM628R55AumrDkeBaZcb5FcDNuCBH4kpWVOhTR5LLAY55GOQIZFgEiF/PNsJW8Naj406eW5JRoBFRw4CbM3+OztYw0T+cfJruRc7ohpM1DN7FiG89VcCj35WAvQg9OOGaNfenSphijWPWj6bR/PhaoHO6aoIMCic65gQZRd2QRZHMKClN9xy1xZNO02/SvskSjcJwwG27UjF6JrR5AendZ7hm538LeijwBCXVm77G8z2naxSbgt+Psf/Y/6kQaNTWscRkFWxpALV7kVwP6MrMreV1Xx/mzjKC//W6iJaBu8L3YbxO1jAl+Wa/GnhhFwL9NIRMZ0unfrrTBKgVuNauFPbxhSAD/abCiiuCcdzTkKDmh1rxLcg8n2MT4jTA+ffy2E3wQULxFjjzER1pyKtNcruX/yVHshcmANe33cXQLTO7hzuNh2n1dirM1ShYzZJh7UGCR7ulPv6CdOm9c9H2KbbY9uG7r1k8CQnj3mPJv7W/9hjKG4mW805TlQcPajpasnWsCiXBvbtyG6lhnR3a/NPLnvqu9q+LmJzNSSuiyM8nbVhARE1lfbOvtdV6tBBKC/IQfsa7UyIZ9i5Q83IGdEzc8Ifpak1ceOzoGTXyrJHsHYtmJ3/tI2YrJp8d9BYv1HvlMekE7eJCgjmLqV9Obh2xpbMKGCP4YwdMDMhQ9c/iSZZLQeV6Ky9120/mR1Sa+mwTLCUyebcKtF5FD2FD0DVPTN6m0TrQuxnTozz1cwwtCcTbqhslGxT0JyTeL8oDiLWKNGpeg2wbuQphCIyuhhadFf6o0DT6oI+1hqD5vu/wmyRYKT0RmI3iy9h17K+hesabN1vzQs9WH">
            <a:extLst>
              <a:ext uri="{FF2B5EF4-FFF2-40B4-BE49-F238E27FC236}">
                <a16:creationId xmlns:a16="http://schemas.microsoft.com/office/drawing/2014/main" id="{0B37726B-9B5F-4EB6-9FB5-84385A02AC9D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8824226" y="3630774"/>
            <a:ext cx="2955796" cy="2154825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EE18D1A7-8A1F-4B36-A55C-830180844F30}"/>
              </a:ext>
            </a:extLst>
          </p:cNvPr>
          <p:cNvSpPr txBox="1"/>
          <p:nvPr/>
        </p:nvSpPr>
        <p:spPr>
          <a:xfrm>
            <a:off x="664777" y="896356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gênero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C2BEA690-B422-4589-A7A5-071BE0F10794}"/>
              </a:ext>
            </a:extLst>
          </p:cNvPr>
          <p:cNvSpPr txBox="1"/>
          <p:nvPr/>
        </p:nvSpPr>
        <p:spPr>
          <a:xfrm>
            <a:off x="4875992" y="896356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Faixa de Idade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60795208-9DFB-481D-AD19-02AA3DAAF542}"/>
              </a:ext>
            </a:extLst>
          </p:cNvPr>
          <p:cNvSpPr txBox="1"/>
          <p:nvPr/>
        </p:nvSpPr>
        <p:spPr>
          <a:xfrm>
            <a:off x="8892736" y="896356"/>
            <a:ext cx="31391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</a:t>
            </a:r>
            <a:r>
              <a:rPr lang="pt-BR" sz="1000" dirty="0" err="1"/>
              <a:t>Qtd</a:t>
            </a:r>
            <a:r>
              <a:rPr lang="pt-BR" sz="1000" dirty="0"/>
              <a:t> de Irmãos e Cônjuges à bordo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A90BDE3F-0827-40D6-893D-3B5699CBA27A}"/>
              </a:ext>
            </a:extLst>
          </p:cNvPr>
          <p:cNvSpPr txBox="1"/>
          <p:nvPr/>
        </p:nvSpPr>
        <p:spPr>
          <a:xfrm>
            <a:off x="314569" y="3362277"/>
            <a:ext cx="28115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</a:t>
            </a:r>
            <a:r>
              <a:rPr lang="pt-BR" sz="1000" dirty="0" err="1"/>
              <a:t>Qtd</a:t>
            </a:r>
            <a:r>
              <a:rPr lang="pt-BR" sz="1000" dirty="0"/>
              <a:t> de Pais e Filhos à bordo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715D9AC5-AFC0-47E6-AC8D-625A52DCFA10}"/>
              </a:ext>
            </a:extLst>
          </p:cNvPr>
          <p:cNvSpPr txBox="1"/>
          <p:nvPr/>
        </p:nvSpPr>
        <p:spPr>
          <a:xfrm>
            <a:off x="4960326" y="3362277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Faixa de Tarifa paga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7904A42-4C86-4B24-BCEE-84E8472EA7AB}"/>
              </a:ext>
            </a:extLst>
          </p:cNvPr>
          <p:cNvSpPr txBox="1"/>
          <p:nvPr/>
        </p:nvSpPr>
        <p:spPr>
          <a:xfrm>
            <a:off x="9148185" y="3362277"/>
            <a:ext cx="23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/>
              <a:t>Sobreviventes por Local de Embarque</a:t>
            </a:r>
          </a:p>
        </p:txBody>
      </p: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163CEFA3-EF01-4575-8315-32B2E9B70E10}"/>
              </a:ext>
            </a:extLst>
          </p:cNvPr>
          <p:cNvCxnSpPr>
            <a:cxnSpLocks/>
          </p:cNvCxnSpPr>
          <p:nvPr/>
        </p:nvCxnSpPr>
        <p:spPr>
          <a:xfrm>
            <a:off x="816768" y="6057084"/>
            <a:ext cx="2828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0638B664-453A-4692-8FB0-24A3CDD63B1D}"/>
              </a:ext>
            </a:extLst>
          </p:cNvPr>
          <p:cNvCxnSpPr>
            <a:cxnSpLocks/>
          </p:cNvCxnSpPr>
          <p:nvPr/>
        </p:nvCxnSpPr>
        <p:spPr>
          <a:xfrm>
            <a:off x="816768" y="6061713"/>
            <a:ext cx="0" cy="7847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361D5A03-641C-44D1-A130-91EF89F095C7}"/>
              </a:ext>
            </a:extLst>
          </p:cNvPr>
          <p:cNvSpPr txBox="1"/>
          <p:nvPr/>
        </p:nvSpPr>
        <p:spPr>
          <a:xfrm>
            <a:off x="1099597" y="5919644"/>
            <a:ext cx="2216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MÉTODO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9C48570B-CE94-416B-A44C-0FB9C88D1D89}"/>
              </a:ext>
            </a:extLst>
          </p:cNvPr>
          <p:cNvSpPr txBox="1"/>
          <p:nvPr/>
        </p:nvSpPr>
        <p:spPr>
          <a:xfrm>
            <a:off x="828613" y="6177070"/>
            <a:ext cx="68685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Com a visualização dos gráficos de barras empilhadas, o objetivo é identificar o percentual de sobreviventes de cada uma das categorias e, com isso, traças o perfil desses sobreviventes ao longo das variáveis.</a:t>
            </a:r>
          </a:p>
        </p:txBody>
      </p:sp>
    </p:spTree>
    <p:extLst>
      <p:ext uri="{BB962C8B-B14F-4D97-AF65-F5344CB8AC3E}">
        <p14:creationId xmlns:p14="http://schemas.microsoft.com/office/powerpoint/2010/main" val="1982365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9D91497F-1323-472D-9E18-63C42E570D4C}"/>
              </a:ext>
            </a:extLst>
          </p:cNvPr>
          <p:cNvCxnSpPr>
            <a:cxnSpLocks/>
          </p:cNvCxnSpPr>
          <p:nvPr/>
        </p:nvCxnSpPr>
        <p:spPr>
          <a:xfrm>
            <a:off x="0" y="6676845"/>
            <a:ext cx="12192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AF07D5-1082-4DCE-9E8A-6BBACD49CD56}"/>
              </a:ext>
            </a:extLst>
          </p:cNvPr>
          <p:cNvSpPr txBox="1"/>
          <p:nvPr/>
        </p:nvSpPr>
        <p:spPr>
          <a:xfrm>
            <a:off x="97993" y="80492"/>
            <a:ext cx="8637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CONCLUSÃO</a:t>
            </a:r>
            <a:endParaRPr lang="pt-BR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D0E4EAE4-710A-469F-BBE2-69817E68D36D}"/>
              </a:ext>
            </a:extLst>
          </p:cNvPr>
          <p:cNvSpPr txBox="1"/>
          <p:nvPr/>
        </p:nvSpPr>
        <p:spPr>
          <a:xfrm>
            <a:off x="276104" y="948900"/>
            <a:ext cx="11582341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É possível afirmar que, diante das evidências, os sobreviventes do Titanic são em sua maioria mulheres e crianças até os 7 anos de idade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Possuir parentes à bordo não foi ponto relevante para os passageiros conseguirem se salvar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Aqueles que pagaram mais caro em suas passagens conseguiram se salvar muito mais do que os que pagaram passagens baratas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Os passageiros que embarcaram no navio no ponto C conseguiram se salvar mais do que os passageiros que embarcaram nos outros dois pontos. 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40CA66C-838E-4D7F-B59D-C97A812E98E5}"/>
              </a:ext>
            </a:extLst>
          </p:cNvPr>
          <p:cNvCxnSpPr>
            <a:cxnSpLocks/>
          </p:cNvCxnSpPr>
          <p:nvPr/>
        </p:nvCxnSpPr>
        <p:spPr>
          <a:xfrm>
            <a:off x="0" y="661357"/>
            <a:ext cx="11858445" cy="0"/>
          </a:xfrm>
          <a:prstGeom prst="line">
            <a:avLst/>
          </a:prstGeom>
          <a:ln w="28575">
            <a:solidFill>
              <a:srgbClr val="003F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684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DF21316D-45A8-406D-8F22-38C0B5599E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86071" y="-126521"/>
            <a:ext cx="13624999" cy="7039155"/>
          </a:xfrm>
          <a:prstGeom prst="rect">
            <a:avLst/>
          </a:prstGeom>
        </p:spPr>
      </p:pic>
      <p:sp>
        <p:nvSpPr>
          <p:cNvPr id="6" name="Título 3">
            <a:extLst>
              <a:ext uri="{FF2B5EF4-FFF2-40B4-BE49-F238E27FC236}">
                <a16:creationId xmlns:a16="http://schemas.microsoft.com/office/drawing/2014/main" id="{65DACE93-691F-40EA-8E88-1B9FBAE9AE4E}"/>
              </a:ext>
            </a:extLst>
          </p:cNvPr>
          <p:cNvSpPr txBox="1">
            <a:spLocks/>
          </p:cNvSpPr>
          <p:nvPr/>
        </p:nvSpPr>
        <p:spPr>
          <a:xfrm>
            <a:off x="0" y="1517673"/>
            <a:ext cx="11835441" cy="21568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OBRIGADO!</a:t>
            </a:r>
          </a:p>
        </p:txBody>
      </p:sp>
      <p:sp>
        <p:nvSpPr>
          <p:cNvPr id="8" name="Subtítulo 4">
            <a:extLst>
              <a:ext uri="{FF2B5EF4-FFF2-40B4-BE49-F238E27FC236}">
                <a16:creationId xmlns:a16="http://schemas.microsoft.com/office/drawing/2014/main" id="{4E0B59BF-EEAC-4D3D-BD6F-BD6CB1EE7A32}"/>
              </a:ext>
            </a:extLst>
          </p:cNvPr>
          <p:cNvSpPr txBox="1">
            <a:spLocks/>
          </p:cNvSpPr>
          <p:nvPr/>
        </p:nvSpPr>
        <p:spPr bwMode="auto">
          <a:xfrm>
            <a:off x="592347" y="5676181"/>
            <a:ext cx="5233359" cy="908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 Matias Junior</a:t>
            </a:r>
          </a:p>
          <a:p>
            <a:pPr algn="l"/>
            <a:r>
              <a:rPr lang="pt-BR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nkedin.com/in/</a:t>
            </a:r>
            <a:r>
              <a:rPr lang="pt-BR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rnandesmjunior</a:t>
            </a:r>
            <a:endParaRPr lang="pt-BR" sz="1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8F1744E-DB5C-4E67-914A-5EC29E09313B}"/>
              </a:ext>
            </a:extLst>
          </p:cNvPr>
          <p:cNvSpPr/>
          <p:nvPr/>
        </p:nvSpPr>
        <p:spPr>
          <a:xfrm>
            <a:off x="-1130060" y="-793631"/>
            <a:ext cx="2260120" cy="2208361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B394CA7-02D0-4492-AF98-F3A507CB46AD}"/>
              </a:ext>
            </a:extLst>
          </p:cNvPr>
          <p:cNvSpPr/>
          <p:nvPr/>
        </p:nvSpPr>
        <p:spPr>
          <a:xfrm>
            <a:off x="11473132" y="362308"/>
            <a:ext cx="718868" cy="51473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717EFAD-980F-4282-88A4-292D79C4A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8751" y="6107489"/>
            <a:ext cx="528781" cy="52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BCC0F284-4CFF-41D9-9662-A78DF50BC441}"/>
              </a:ext>
            </a:extLst>
          </p:cNvPr>
          <p:cNvCxnSpPr/>
          <p:nvPr/>
        </p:nvCxnSpPr>
        <p:spPr>
          <a:xfrm>
            <a:off x="517585" y="5735637"/>
            <a:ext cx="0" cy="12632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70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0066CC&quot; Intensity=&quot;3&quot; /&gt;&#10;    &lt;Color aRGB=&quot;FF777777&quot; Intensity=&quot;3&quot; /&gt;&#10;    &lt;Color aRGB=&quot;FFFF0000&quot; Intensity=&quot;3&quot; /&gt;&#10;    &lt;Color aRGB=&quot;FFFF0066&quot; Intensity=&quot;3&quot; /&gt;&#10;    &lt;Color aRGB=&quot;FF336600&quot; Intensity=&quot;3&quot; /&gt;&#10;    &lt;Color aRGB=&quot;FF660066&quot; Intensity=&quot;3&quot; /&gt;&#10;  &lt;/CustomColorsMRU&gt;&#10;  &lt;ColorsPatternsMRU&gt;&#10;    &lt;Button ID=&quot;menuSeriesColor&quot; Color=&quot;1&quot; /&gt;&#10;    &lt;Button ID=&quot;menuSelectedLineSeriesColor&quot; aRGB=&quot;FF777777&quot; Intensity=&quot;3&quot; /&gt;&#10;    &lt;Button ID=&quot;menuSegmentColor&quot; Color=&quot;45&quot; /&gt;&#10;    &lt;Button ID=&quot;menuGrowthLineColor&quot; Color=&quot;45&quot; /&gt;&#10;    &lt;Button ID=&quot;menuAverageLineColor&quot; Color=&quot;45&quot; /&gt;&#10;  &lt;/ColorsPatternsMRU&gt;&#10;&lt;/MRU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SPtoMhLAvxgNGNIjjzZgi6ku2lWwMWXjL1a/1Mhul2cswXf9e+Sf8Eo7JA8/TJ3tr+vnj2bp5J2xL1FsOj6Zq6Jim1TI20T9g5Lj8YPIf6RFa/VOrJiVaBbDmEA2DBG9teeO8c+ZeEm6Z0hIixNapOunNoR8vGjaaL+Pz21wzPUBJGuKWueodki99M36mx/r7Hq+HaLpnrE6BC007rs1V24qP48IXMreVq9zszpqW7KXUv8uws+rte6GhiVoUfEiE3nVHykXczijaXVr5T9inwSwvyJ84FDUfgrbPpMmPbu0LZTwC6Tc1lC7R2VWQflgARYqNM3av8+NW3aOFBR9uQVs+uHevX9GHYaEnJIpDLCYGZOuAsSFsX+eimYYc7vJTYCLFj2RjaoI3Y80ks+E5Y3W9ua6gOzMoeFVcU1fWIRGY9isgii+/IfnQOBMA2N2s5xZ+7zq1drESIkkGxu7VyV3kwGV3rMNKD9RCz0dzqjOQ4gQ3UI14D8G7rI80zLJR6TPgWhLtBC7N025fa3lDy1yk8yfxED0OqNG1Tg5+0O62w7ScBlUMcJ6yXoi6IvuOpp/zPeYrrDjPXRR0CCwPthtYW6a/Gnzcb3Ebw/wBm44LDGXgoZzT4eNY2MX5yLRuM0zGGSwkj2LJkzQ0fHemBnlUxCkb2Pl6Qmm054xMLsoKG+P8FETKBvVv69Vw2mO09Z8cDOvxcrrDyq+sHrrZvfy1ikxwJ8f/0wTINKK48i5hQNL0/Yn9DjojpfdfN1JP26q+O8ewILt4V7bY8oEt3FBCW4VmMb1+N4ekdWfpHgkTkWyCBode0YdG0bmJqgRczUkIH1nDwGgExufMaWX+BnpY0YbaX4lHWHIr7WgEy/X0UipBF1w5A6j+flVOURZ9X+CrkEfMMV5zne0nT8yRoKVOi9eS0TwcUh+cBHCYZ+kqeSERJ1igMImTZa3/XanLu+5t7XCf8BEUZ7cdrgOoMy0n5XqW+Uj21MyT/w6srKn0bi6jEoK3q8/FqCFDrMdsWzRPUk6OAEkWBBxPKo+fqOgquHt3oA0/zus8Dk/p9YH7Y//NUkBSXeEzXCp/zg2VewMzrChls7TjC64Olii3OrgBZQMXYb8IdSxM6uCX68Wzoq9mKlxZrTHu/M5cXXowgs69gV9y6LtXaE6Xr3k6yLyvP/kSafCbLZwsUGZU+D6JGjEF8Md1x7CPICapwqCnQuM64xJB2lAIlJSfijZveiKA6+8cVGdp7xhGhW6oqGq0kLiSVwg/N1CkVst0c6Vxi7pWPaDLGyAKdu/OQ5DZjpsN11jItlzOCcpE0aRl2ab2UQCIgfQw4rRItuN4meSp4hSuqGuf9wVo7bQt45TV7kxxFR0FwR5fSSv5dBfmyLE/2xY7kTsmvvn5MPCbnvcT2bINpBfM0k+eTz/gwpKQUC485Oaf/6zreZ116eK7F7rmDHJT0YmHmaPyp1sJYYGj6lx7H3ga2ozymGaL7wuGAo3h4O+AeVc0LEEMBKTxDcdHSVJLVpNkTkL0exTkxMp6G4WsZ6RjDF3UgOPyBzITWKYCfNpfR9dg7hGlEYyjPROZRXmAFJDWFWAReYrri9l/HjyzizkpXq+Yl762zpJNWe4wKi5GyO/nr6BIlwIQJAtwgb7ZR9NjHx72AXPUfoZ9OZ7glPUkd6+QzbClcjFBB61tL2BVxasnNADAq6T9Hu31vKYrkt0eK2Xgxcg5y/yEXFJKEr4J5cSQ6cF2OKeOVA/7sY4v7VfbsMZSYfrj1/Q79RTtnMu0gJ3RDv2bxK07gZTQ9UBi4C7aP5pRehLJLF7kzsyG0W+5UCQxsQn4ogYGcpc2UZ5NqA9IrYqDWV9tcIbWssVr2273MbYbTb31trMwWtqiug3rCV6F2RalQnkHrdas/ig4uuNx4R0jpCo+KmDy1fQzqPAX1Nijw5sDlAUiFptuiMvifMNRXf5wNW5FAY639O+6ZDw92z5CyeEnafE6hAYqedrtHs3fT6r5HuSIVuW6JhiiNlecBHhjxnZb/2hf7sBAquSa7MHZJPFJq6AEi4GtAudt8iu6lP8JhFLb/g5go7HwSGGovlXXfS8h6lHNgy2qALFB+IjK1LBSWPoe3pP/k+00SE3TmhMQIm6sIBv4msSWugdYXxVhJYkIbrfljZqJl+BxBSdIhdPsg7r4b1qQPrY5LkV5ISBn0VwGQXOFGRJc0W3sO5f43oMnERKwVYBWzK4+ef+hZQaQrdeD/hbPw/ELhT6Zw9Z96ryANHSI4HpcmSXFI7mJtjZD2VHm/P5XT7b6/T5auINlvxn7yMmVomSjYM8YBGCIw73WMIKNV1i9wNu9fxbOJAOb30oLj3yf0XgXwnY7peDUJCbVVhD7flFz/wC3i9dRdTN/EUtnomAvyDI3CudBVe97g1F7PM4e5cAUpmqeFYGhg63IC/ZEFBJ2G9HgBBlYRHKQy8bWtcs68Dquxk146B1a6hFli/bCu7YLSELqH/t+Ph99fmJ83uD/FZ3g/f4sva7skpgxjwM/MfUiwXJSWdXgdooIjzxjiOB1zx/5fzTHlIIPhuOSOWZV0FjkvMtzQaakwgmajHgR2FFPl/+nAewH+d0JFkF3sdRfzZcnt/XAg5VfEitINjY2LoAvizTqMqM1KO7Z1JIuRPTzwigqve0eghJPDMUtILcABFOrNb0WucMzuiM1H+NmdJnXcfz0/cZA++FDLopN8Yc7kAY7Y8qw8SFCsRaXKC4hJZvJDh0onzERUjgfSIM2tn4tqgx87rTOVJhjCFGHne3KkTnQbeDyPbaR3qqdEJwvi/NpFJv7keEWhxJfFwGmKVs0hk3b+VzHBK34RgWkMcyt2kEZWeZQyiCJRlybKANiZBzXidxcXoBfC3qjabx4IHt2gqH2JzGFls4EM2/YJLIRww+vqxtDpeQfFX/pxfpmXEKrH9ZxLYbg7MoKpfxAYH8/O2nKSadLAIKLidaOvzhZGQIzI1tk3Mkzhe9n1j0hsI2NcqbfGtG8ZCw9FBySih/o5S9Mn+jwebie2pwYJeHGhnIb0VjyvJXjjL7SuNNvPn4OJ6Vz7PzzFEeli4NRQJ6E7c9yY33TdDSimYLQmDPxCY+y8Kun6Ojaj3z7qxu5MzWcQ0cLishx+RdBmJ76n+gsNXSV8aJKJqenFSkFWLNqVmeBu6nk++c6OdibUisPZKOaeXqSsHNO9Vrru22fHCiUXXD569bHY35jo/f1kuiwGQMQZoDsIBD+i8KBg3Zy1mAMYjIntwU4SOo3z/ijIzWbUA4Y5OqNZSgeGlqWnzyv/WLe/ZaGL9ur0P8TlVZNOr2SeKWsg17VFs4AHoTp+wWaZzjolrCTXyLyRjpQSircZ6X+JnTtJwEWZp067uBKSyjyvJRf93LQU3zCJ1bnIfOd8UOoj6C+HI+82MakuVdkyUJBSUlT671wHkcgzMOpCWzxBLYwbFcat9jew3HyyzVGJ/dQU6bOpWUWyvEZzl/dE1BFh5iidl6V9pTVMoId5NvhFdJa625iGh1m6v4XtK9JRhO90wUmNHCqieCDQn7sxIRk5sPWhuDAu3xTf7m/tTgSELfUPFPfbpHwFs/v7+GQgwn+dJyvr4bpvQISGik45UGQejWauFI9papimAS7UsEFmJFGyD54Ah5U8DqZ19HoMFaULYjEXTVaT59bUgcYJViVfXH6C3SYivMnvn4WS3wCdb9uIjb1I/duMz21SoBFWE4Ol7iaXXebh6FKrUrPDajMBCTbPqQup98iNS4xzIRhw3UTohGR69h6Fzag+HeaY5s5r4VaUeSdEa8QWC6MVhuVOMK1ETnlbPwiLDQfNCCXyGYf6R595d9VA4RSK+cJpB8oNJrB8nqowHT3IuDPS4bw9VxhvhP1uSBpv8AMJwJg3BNdq3tf5/GeW8bkcUgq9yU3PhEYwUvjDx/1t1lDhKTncu7hAs7gWA+Z9cYKqlGSdk7akvmZpeOs9ZH5olh0laT048W2jo8GbVf3vjCnoIesnoXbzaK2/qt0LcPOvSZBq2bi70lpuR/LpXmvdYITMybf2iOX8IG7v6VrmXh2/ZK70bOdQG/RYemNXVX7A+kh0kwM6rt+VhOeh1lJqIymz6cV8+6afzG8mDbSA45Nog1ei2BrjHfZ62NbEZvz2r6ML5jd9nIMOp/PtNpqVuWSIt4fKI5zBiWTum0Pf+Fz68y4l0PWh9LjjXqe/nfnThRVf6XD+Ki/A8p9MU/HSCvfar/bcdP4rXt7HufOHi4ZVWJohBcx9dNHLLF1fgrnswraFK3pSiPI9K2SO8HxhfnuPg0J71wAuVrlKm+TAK5k7yBRs8xH7Cmcq7Nbk8g1rwtOQBN95B15HG3ey82PA9U10SvESw6Vlld8Wb0FzxkcRHeo+qNB1YN29vBkdfW3zNWCI2X4U2o63IzI5Kq4IjhFHjh7MzPWRHH2fOiLX3dBG0Ly3U1j9iMV5KcMdtI34iDeO7muKpW63eJaPoNhY72dzFDGMUCbL1R5WoG/Hzt2ns6tWNGthGMaQGihfKSZ4o5O8h05WmgwBZp6tAySW4JOMeTkCLd23voyy8PIN6g1AdqBU5ribGN55QJoaj7XMjiBcjoyUKQNBtKYRQTtWNEYG/MtJCf8X9ggl3LflB78cMb4rpijBqEDKN6kSQhgny5eHmbczJbRaft7k7kC+SwuFNy6mYIZ9qpI6jubSmYuRLytKMTuwiP3whGCZjQZNe2KE0IL6tinwaJdm54fqYMTyBSVUM7Rsmu4ii2xsLf47Rxu9M9x3Pcm/M6HJnViNfK1mlbPJSTzvJKVRQcaITpT2H3a69+bCOkBs5vowxz5VFU2erBvILKYJEfW7TjHqHab54QZiGlYhzBpu9iFuDJ3/HCZ0u51uTyLIMl/uBnDiU4FUMzKSwRjluShnjvjJnPHrCpV4/1VFH8YEysawxajt+O4QcRJxnvnL357qQY+MI2fVvB5OauB1wVwRuiiTIO6ZKC12TOc+QzQJ3PHf2+dSANo7b5CCHMnQZezcWwGAMqeveHNzNy0j4FjglmqgDcLXHTDIsMno8OO8BRIvmNfHtAWOfWLfuNDF2OcMAvc55d8dDfFst4e0v7iX9cDxgErwym2zT9Ye57k6lHZ8iD/j/4P6Hv1qsa8aYsmoiPMriMpq3WUj8OfQ7zhIwu32gIocDj82Fbsgc1ZYoqWgqDsrOZp2gyACG+fl1chAUVxo87xx/PLWWsf57vv++aneSQ+uNSwueXiebnwD2ThKdiscM77+rzCTFfgZNNo2Uvvu/msVu+ZB50Dc3ZPAEaZYxC/XlMscwPKpAr+RhtanV4c4uMZqJfgMIBC4vWWqARH8zSq8+iHF7n7JhRXCHc2joqw+y1XkT1dibvepGxIAVdsWKIcoaEV9XXongos0SV7uyeM8/VDR6//vCVZA0DP89rLu+DtewzCiTUplb591DrW+8gUXuK5s7IuhB7bSEIblp3fp5rvu4DMLd3HuUxZFthTcgYVaK1pl+dBojpl/8xBEj5DRo/sNGN1kHxqdTipkyKJp2xbIeyOK4+6TLBTPBGzC7HJ/uffKOrGVMiewH9Eka1AmmU0KZleCavbxD373Z/X4HeOg1qye9IxpecCvoQh15H2g3oWU/xlxzba+uwz9Nc0P3KadqIReJmzDzldu7xPV6NLXQenZ3ZCj4EBMinASWNnlD+8NSjeSo+r1c1OJ0LgE6+VFTNeszrFYUn89Dr/Peo/SbopU17181XG3hfVdfPkRuR64ae5xbv8W2wtcgyBIruIPHpwpuOIq6VZVXHMXlQAnBCoIE5N9Rh0x7t3T0TGAKYVKlla+Tmtth7Ae/151njpIfe/O8I7E3sPl4F2DJ7+wHsT9CyHzxt5H4hgHCUoWAMY2xFrCkc/MGKELYKvFPmwb+RXYS+Y3gD6GVrETrGKv3Vir55VPxmxfJ8QY2Q6ukMaH0oJTZ8hzg2Nk7eusAhTcdQ6YM4o87Gdk78Aw9mxe9EgZdcfvnkrRAqP6EQwGvLz8cbw2WrtO7TJFIMEyR3Q/v5tU6It3Si/A/1LtBQ2yp15XBfgsBxVpX9wgIjV+La891vP8hSiTPhBEbAltx/cwLp35FR1TzsMcMHpiU/B2Q9hG2fz7L/Qq/uahKSKAWqusd9uLK4Ck3Rav211aPdZcSG6mMRMaFfnilCbPbzBtCZQs+oXLPbjl8OCeDiD6N5AOpicx2GElwi/7TXIcMSq7CZG3hjhP/btRpXRzUkxCCbcrp/fWnEJQQcX7Myhm3JzXlr9KuPSgJRPQrBYPgmB0HXLJ60woXEXJxu8HffbTJ4DnxZh+AWnSDeX2VQ/YSL4icvMFXIfrYSOP8aizaP+RFVMOZWiYzNya4A8eSDPyCxf5WRcGAO0zIDmzqPnKqUOzoWYBjhPu8iIIU4YVD+dfr/9TZBv3FepmBJRxLEWAMivdLMMNDKpX+AeHVRn+Z8mRtsDKPzoszguFGSs8MFIA+Qo5rlNPjTBIjBzMtxtyV8FBWb6diXUU4Eb5pYlRNJCDqsOxPY7yoVpc6n1KCMBnUL/X04J8OKmW9OdoqI9Yd0HLjKmJxA/YGYpHUOiC1rPcOouQJGiLYNqGmdjd2bgKWpAhMjPgCLTvxHrTJ3r8kXfTpr+vL/oEeDe/7BTQVQCk0qbmFtF14uidvPFyifmEF4TDrdvPs8qBhOtIoe/SxnROX3ZAs5XFrWaOQ5D3Z8Op11e+gtbk2BjbnmwEpa4toDBJedx7OM/qUOkvevCK0wUy4FG7A38THLG3GNRqC6iZMK67S/SAsKkki6M2ti1G30X1az7nQGa3ASknHeM8C9dhcOcZBQX5qbK6T5efhnYnT7x23Zckj4uhWQfVmPt67ml2Gmy2jV+ixmqiO/Tl1Gha0JEEUL9XdzEe2eh/h7ZhWPIpiW1lAarYFpEzGidDukdKLuCdrhtx8UPjfXjUbxsRLpVrmyLfsvZXUG7grad8J8W2qO8EyskMQa2rrM1aaIHJgpFFeNC5JJaKMnD28vKM0TyXsyIW6VIQWlH2P4+OSdII5YOX1862XP2sHP5yJd4JE91IKQtsDXdAI4Hv7cyCB/0BUJwlVn0IxzfVKtnXfKS58CXS9a+FpkSJDUaPwAnnZpl8VogS1htBu8Hv9Cz6LOGDb52h2z55Q8IKm5xxqNvy/mWfyXZeJ74tL9hPheiw/Uyv1dZ6XL8Q3a/G0EjWjo61Ie9gUxDKvYPLlBVhmlkBCkZQHFlfxHLrqVkyCZV2nNPq1hyZSVaMnoBpjgfFDp8nVsspTY6aqcrFTA493VzJ9T6SZAGaMBTlhqWMnowgH62XulccmEaePUrXdANRdc3XEAiQfQv7k1IZ1dUXZ9DC9/6DdHaDvdlt5xT04eHz5JbP8Us9MThOjKy9hfP1/LWSP1qFbGX6GzFFMjgepMgVl0VcC8prwE0sWzNtPo/ZFBNUEFRXWY9ECWI8S4UbhxoS8vcP4TeOR0PYiivgPx6RAwQ3d2vx5bBjCWlpUyRRrVZXt+FtYyiPsxfU4Y1KJZeYNQlw8x53wCrYbacR0ZefnoloGAbLDTXwNkJXds9ieaGxGS8YsBsA3T3So89vMQaLOncmntBsN3WYHO3o+oWKTwhsq4AIEkWSTKD8BTx3BIV7fOCDtX+IIaWju9uy/Puvni/zQfMG4nH+wFG5LI0DRlMCGzYnpVpSXzh+eX+OBP0y0OeHxXYlLGvcZlCbrbWemVrMm36ADxbhdO9wkqC40VB4dYbAJey6P+RNXPSu3XvA6Ld08TwU6xBXeYiXREKH4M1TlL/Kubn2UnVWzGW6IvvLuOEnhRGV6mOuWFCuC4lljJUw/nu7Gc9QNpSyVdYgMTya7UKNHl6wEMXuaS6szvEQcwRRrNILj5KrsBYYEJctHgdAGF7jtSAIdDHFk62uHIk4UmkNzrPC076hz4I1TshGbA0uqBQ3qL5+7h0QnK7fBMf21XGUioJha4r7rGuVMmsbJbPhX9S6sgVb1Pw7BPIOR4USzZgWqtEo7V5Lmw+AJGCuJ+o7WrK74/9/4BRf3Q4oBXrLjLa0lnP5mCjAOI1QOvIvrT7n8ECDqkMfOqkiJF/A0uLls5h3ft1SE4Xzp+xNTJsrBJcFDRKLL1rwtW50vWSCEhmsCsYzUxV1dGv4Q0bIsTQJ2bYUfQXO1c6zzo8O2Ao7RiS8/CMzE2Hw9wtpsuSZTPAIgJX4hlUWA5Ir+qBzZ60oZ50Gj34+dzIGmhEIbtE4j/onwsBEelXdVpFnDZk7+OYjiIgPAynx56GeTRHaOW4nEiw1q8Y0JVFsInbe1glHDsIMTtcYEXaSbA69axUDKJbUVJXq6RFpN3+l02TBeBCzf/eRnkfs4Cea3HGHcyxcy7qneNtyYxw6BPB0MaCngJZFWBezqB4F1wf25sVBJlau6qh6EM0R22w/jf4jZpztGci7IpnBYicYPh7pD0jGvnW/CZ98MUN/RCHSLiGIn3qX64mOOhq5r1s74CN1RSbdlcMdOXw9jyx2dwqKFnl78k8Tx4MJZbHkI9vQ4INpUIu90FBc/gL06bBkQGbQmMRrzsZwXtl45VBnG0r2RW96OWeQSydBxrg6WN4npl5HTtISfsoc3SqKFmKkCm0qLujLLGW1Mn32MwknzP/Qt6UtZbDdmsv3bMyB4LFybZwi6/rBK+4hz2i5n2IwPSSRLsT+Zmzue10O3NahgkrNWr+uubKGi00S5Y3w7MBpPpJKrBxX4NW8FZRazyJE9jO4KfP5EOg0IXZV6xKeEiQE9VlWRybEw6xjaFWGlHWCLIofjF8/jzadE7LnHannn0cPJ0gKAAOZRh2yMEKx8AirU8q2/lvJZZoJQpG24dd+Bf4k7fZ1dfnGgMyFTAdsIy6twG3kha9DYOhsIbFhPNLkXepb/W5/kCM/dgJNONnxWTApsrDnmzSIE566ZHGDtmr3yPw0Iu912z96R3RfF3zDFgqXXSt7TdRaXp6IxLBZyMplYGq9SILmr7GczY93PyT1DeLuq7KbwrLokAFaTGXUCeYed42E0dGaBirJo8RnUFINqiiLbcy/aZA2pRmD4UW3IfL9xCJ23hURMD2W99Kewa8XfvalJX7yFOBaACIXNcENY1j+kVaZhcF4cIG+tQq5Cwdoqu3grfTaxaRMZMdwqEEfE3Y/PFPclNuJ3ihGRrfVAMmk53Bc1iAGxPP+xTM6o7gm7bfgOtJXK7w1KTVSjkjcUE264Zgsg15jZPpSr/M8b+c7LDH5lR+MVBzia2WQi63WpVloc0p+rt88F+XDCXiejJXumnmG0+LHZMd744C+o+ye2fQnIz8b4P43J/1JYF7JuHsB25L3jRgxTFoPl95YqBWbSeiWe2C9FWjwV+78oZEgmjGp61tay7/TBasR/5I9VSobbv+68kHvEeCu2yWDqtGeSweavHKg9Qa256jxNUzvuZ59FrQQKsX9c32iQbL5Dal9sUZjcgiVZQMrdDPWli3R/8s+5hRNsCQKRwXHbyoUHGvLIPj+GDkVcEZlp3FGjvpUCA4YObwkrWLDUJfSVgoQoSIMa1ZvUQUe0lY2T7BCshDG5amOb0xgCXVvUg3OEQA3dCrONJUyc2CvLdgwj7Of84O14rVKnHRiVm5wEbINkB2XFY9DeD8rQvICZSSmYJGbSmqd28Y4iNVtJC4L/7tOIu0UVq3sYgVbxtH6Rns/BKvD8CxIxmu1+PtjjsfWWMcKcu8VYM2zfjNTIPeOgbtdq3iS83neZwWXb6IMKk4+gStmC/+M4/IPsVoYRUwDgSh+aLddGBe/Vn2A+QWYlpPJFBkjGAgX3r9EfOAuaYAPto835yk4IsxijKBPjGh7Q9LoX7R6pJZWI/TpXp7B+hYL/typxcYiCj81z/3L0Cl8vemh5yy8nftqz3Bk3v7pjaXrgBxB7AsCeYL6mXbtvoVbpXKfIZc99c5/OuQvN0yHG3CoWsRcMXFojPc2hTR+QuhcUYdAdbDA6yehucMM5uLClUHlDken6BceM+bR6Zefp+0sC7wKUUcQ/BEe3pD+mfnSikV/7zy3oFY4HTpvHRtsxrZjx5ZsXBrR+XgPN63/hUOnHzywPI56aseoMtd8QOOGbGFnpNecjn+67wsXnU/GwVbxLhy2D/PNXJjCQzO5i7uteZeOLxLg8JYw6cJivxgqL1HWCoUjgEsLKsf/cDgooIKFc1DxrP8eH7IISycalhKruVMHIk821mcO0NL46/97D2jdX6xLHrKf7SPFsnYJCptPV7PxBnQMRQ7rEPGhUMiws23sxM2EDYQEDBDUpNFrmm0tkgoAIBZUQ6JMxogZs8KoORPC7TmlBuEmxe0fnzVBp5+8QteyLZfTTdX8k3XPl8oUJk1lTZfF1G2a08Lt56i0oABkyYrmxMwOVYV1gOz60CeVUzJNVDDgR+HX7dKGcuTT+UZvGgEMetpMsf/tIsKYrwt4T4RoHZUnIDXyto1uXGF0jJqKMxd7duFr6HMbPy+bdKJSHHeHFqXkOuZsffCK6QE8kvDz1bKLWCdea+S0nm3ln8EkGsw7h6JUKDuA27AoVnoz+ki3YhkN9DWGXhF0+HC8/jjfjw0f4oKDnQ69X/UYDh3Piaw7TtRe+FtQhqYJGH9DWOzaz5uVbGnT+GZN8JC751l/KaFqrg8OpE/nIKrLB91qbLrh/l10Uhk3ndA0wSYT0azqe8pQCbVlzXRywwZzUoGDlFCFkdiwaJLuJTySiPhErYWMIwwOtGhL81J7kL3+PI8xomhSKpgWFNpbnnb1jf0N7ReWTGKH2Yw/Fh7cZfX39XaD1/ubsX4m1huRP2akpIiqtsycBpq1NPPG+/ZphmZxOBa8brITZpEdSkZAIq+WnGm8rJiUpHgyqMFm4Fpq/p1pA5u11ArX4i/jQRDb3Wkw0l0Ta4Z2JVKXwg6wl9GHkRl69P18RNSGRDWyL12vtAiADp/OlsZSomQfqRy2g1Fqnmu2o8eJ6RVQAxzLewcIR6bd7dZZJpWyg/mzzC8X64SsBUTjoUvYUeK/UEcx5bzl2/3HqkUss48XKdxP/L1eiOhM9TWn+zPKzmBIeSfNT0XwaVKZSEWx2t7H7RDAx2fjAMfNjG5Ykvg/3y3akXHm31hEp1T9QWSUpcpiaEzEoixv5NJKcYF95ORf5AyFz+EnDTXYkWIcDV+IAS0x3KLgj4uJUKazMyOS5zML8L5WfKQSG0t3Zp/+AE5GAbRGDWlWjTW9gE/+s+5eg1VCTPzwWcUQx6JFuup+jxiDrHZAFZxCtE4IpRCk8ZhpsiVTRBvu7TWLJvz2TmNjJPNRfjJDktWbiqb/OaN6SnNgvQcUJHHjAFHSAaApGtWzMQVyNUTKJ8kpuFFIimQti7YDzF7xJspoPf6v5gCCQJYswQR/VnIqF7EswnEaJ6oGsSBNZLn7mOfMzxEbXcEkP+uylB9OMbbEBmXTt1zfRvGaSIEpx817f/wxI6ysqjasxGe1dsXN5WrYM4N+XHmA7DQ8DwjKP260AkmTTzx6gmOkDqcgPmls06uushrS+u3vXFkogXx0QS80xSIkdP07QEQzmp+We0l6D5tYxYcl+F2dyasp0Hg66sDIB6xNzavM5ZYdeK6rUtAB7EDxghiEB1rVYxMIlg6dLyyT7lly7emioAd2n6mMMQttgJDzZb4UJEna4uF2Muh30HME83XqFdB5eyiZ28a2o9KwyYAg5+CsRaSeEB4wI7DSK5hhSCUKN9iSEpY/iyyrA1b/N378gdwgcRPdZtTzDh/qvvRbUnEom5moGa8C+/n3t45Yb4B27jTOs35xdHY+iNnK67caWsBFoINtRLXY89W2HDele52aYFdMDgayAhmeoYIDUed6lujM+NsamTTNDt1rRPHjTaor+50ORldchUrMM29nHiiF4yTOBII91faNl5dW8bza+YsnahZYt+W1s4Cr4aHigRbc9FXCmzjXQYIQeBObZOXp8LdCr4l52lrFuZJqQDxpxXxxcK5J0M1E9rkZU5ImP5hozM9WcZVGXyvzPxkMcr2z/qZRXlV2KiSmMv2rn3LozR8BuKNZtErD3w56rRDeC7+wLl16EOs4W20kcGTVe4oUuDjxf2T5JE82aBykE1Xu64T42C0F4iPU6DtVQJtDEp63NR7TsIzV6K20ueLTb5Sw6UEJu1GTusIZ9xUz0rUtMHzxNf1wZgLFFyf/YtUJHaIMdUnB/FkZHGvGRBNMyQPOlJTzJgXzNkNGoou7WDLjvIusjy/PPwFHXnLZGPscteWw1iWIlk8enP0sDwOk9WHICPr0g79FymjQSPORiu78ly+SjSZ2Au2kbs0DmizCIor8EERrSccokj1hFnr6C9yDMvkwAao+2Cfaf5byxs+pNr/MPOV/WSb+VqKOwNrf7sXkddmkEK4YTfzsWmkKyPBVZbuv/0/V9ZtWeDjUXe2mnN+Ht2t+jqOeg6vqM/IWqYmuPXnpdVISUI7XWMDEToq/G4NhyzhFrfpUqARm9oss6zNSE77GBxozRqICmHt7JwOGlF/6oOqtwhT/95g43Ip5ZoQt9567FGCmojqO8f438hFcI9cH7zc++v9Xw/borsAB2ONWxBSpVP0GN02ufWEUj0zAvCtoE96IRhJr094PEnUYBoiNny0jREw+9Iig+3LZ6O1mWe8QaM8ehp+ru2HCaHAypT4rhFvzIGvP6TnIu7fWHrH3jj8OXsgQgreeFurNP1SJzVWCj3Jt6N8dw6C6fWQ1AaJ+SNvxtOmpBHlQzgjY6ia3yJeyIK/wnhCnyl1tC2/wv3dAyQW0KRXJTLkhb6OFdliRTOKBajtWyOwpLQylrSmS3VBgCB+zCJi531DtR9PYflIi8rp6Nl2Z99ODCk1IR0moQrzeDHQxIEubCYRGqX3qLbryFZVgwDysF+MdyeF3rwF2g0/gN4dFntMdZhthCnNPrunMaFhL+wngPuk7fkSR8bSvrrpNlxZKXoUht45f0Wp9SfXHTt011YKjHzzTuNsly0n/ONTBhgR49+PSzbJENF7Wjm/UXTERmS4RNtAQ6QdnFUAIvBsMDImBsFCCdoZ2vq92HD4cXLldlwvn8epMfBDCjlI/6NmalcYC8QfBbtCb7iMQUza5Rbl++Cbmd0svtYqsag9AuB8ZjN+DLgZnE5MVzVyBpBupLztJxlhWwOuJpGlETsJUmwAftlt+PkKYzeDtHoupm+H+yphkNZba56nA6yVCTii3yu9uJXEV0bjtoRaoWEyfSlxjaCUASABNuijVvGAEO9JYcLtK8NRLTV508kWgjKU4yWfn3QwVcdYfu0wdKqdtsuhOUjvPEA//2TTY9k2Sv0F2WkA8wzC+r+atTM9GTuTqSk8fdNOl+ubYz6IwP6NHGHTBrC0TpdfUCeZFFt8uMDXHTucAjQk3HGkZMRoZUZSXI/3PiA812wCGN4aksYTZHoWIFgAGBwVn3G2CLGxyYEjswBJiQncWLCS08DiQ8830ulVPgsTd33tK1gO6piiNqRBqnDIDLy6uB4Y8dCV0mewfcO6cUJYyxNSFyys5wHQldYK88h4R4E1g6vSY9C0VZxKey1h0vnIi1G65jaARYVwjou44/ebYqz9tvYVK+px7i3O7L92pHxa7Ot2Da7B2TZ1+Rz9gtYICu4hQzt2cSC5/3cQSNSwaP2toRwdqhuhF4Ymn8UFAhTsz7GnK1jAZskHF+lDZUh4qhLGRPvlec5PlmaobmoS9rPQbiuFSFRyZD1enqdSRnZ4v/1z9yGPZjPA+3OtU6XvKQ7uiTU9QpLfY7TRfSKPXrSe0OzgVxC7tVnepj4LL5jpmn96r42s66EGA4eqo5m6hG1sUEmy6ZHvB3qIu7459Fs6sZr/jxwvkhNWpY51bdhJCxkiRtLgGUo80m8pWN46Ba3/YKkPXgEJeHqwo2u3xEcNwbNrIkvfe21mI0vYTZXWOLYKzw1zxYbSNFHyQ/a8nwGBFb5kwAutgYFHV0HLRZpzMUaBdfjzp3IaaDotnPezihekzuRKXjDGOhgGlYA8ckZSEmxR1/Z1inQte5GAOXYGzSRxY86QtJCE92d9IZISRwPnPc441Wod/fc5aVL0px4Dn1hhWRsRTh7l/Ki5OCAbXeq5Syfnw43ujxTsn4Sn1I7zY82Iw/VB/LA5gCll72NYWDfHwtweJRQw5uLnPg9qSSYyRplKi6JTnh6CaWKa6FneO9Qxc+926w0OroUnQsFn6AD43FS2d+7HVrljaOEpOi7sg3Db1DjUPz0H169LabSEPFuljL4mtkCsstbjAGkLbJZuqjAYesZ2XSkLUfOHOhBB6wc9KkuwTKFBApqAOd9Z9bJfxar6xluzrhsCtA98jBYcAFaHgrHOemdvnyTEPpWxm7Ihi9y4wI4InkGgEJuu6K/7yD2JthyJdGnFH+DP4469WxBhEErNh4ZRQm192nJP7WtrwvC+Z8JGvn6RZWcVa/NviB6lfAWrDb/u7Un39GzrLGAQcP0tTG9G9P5YKPk4Sag4LzR4I8sVI4q+QZcYNB0SCn+KOC7G0G4TG0rmCpFekMZBCd9ecFOEtWMPr/iAu7t/jP3+VIEKT2gZZ/H8d4E/GYD6DJBaBCbVA1dTQqesVXqyA8/o0uuoieJp2XMteZBnT5JlZYMJUD9XS+sWyZKnK4y+HrtNcCXInaKogkkLU9o3AgKkyNJP3M7swtX303ZHsmdl+x18notXh9ToEBQKXTuvVN7/sC392ymto/GSFlC8Ub7Ug9GVKCPMCeIb1KJzw3NIprkkemYC/Z3vbyyBpBaRaTjYPx1Mz+bWnrEJK57x2O+Hd0naTCpzYFyb/HF+vIWA7Di6XadDZsR2Qvm0Odvpsad/A+Q01pQBMGVTwPXJHmOD/rNTndSwLyP5wwUrtrQDe7ravzTkRlhYwGgx4rt0Fa+lLVUz2msIuyLJBiJ9u97XM5t0twXkQ+aa3eJAg+J4WjIa6j8sowxIpAIx8o1XWM8FRg1/3j6/XRquonm+CskaWle6Sqn/adauxJcPk2HpDGzqGDjibf+4jOCkU6rhAyxElCVky/E5KUXBthcDkI5zpzPnY2UDnVAVGrIFWZDtx79d20ykUQEYMW4iIsRI1VzReopghFNUItQOirMVzPGOkl/dzAsFPWwC5pajyy9/826ELVCyqrkixG4AxcfoNtcuvydEK0A7GJnypmw3o9QgQ6R9G5UcVmy14MLjGgexpEyJUv3Mii2vkKhXfIVAMXEHw1L17q4C7D80hTw1JVSv18VpVMTdEbWOQ+jQu7I+ipIyWUPwnud1v3iIb47XqKotKMASfahBQWpnnYUIP8MF8efmQzw+DNekcQbzEeQpHIqqV6ER9EPgALC6GbFObPAMZcgJT6XA+JRcExmlfgonkHcz9OE8XO5AALrqOPUR5DfNeXVh1xyzpPdDdQqn/p1iVOO5bNcWoj15Pt19jYWiv1q7IsGJ7fTV67y3gKRoOqGScGgt6xwVmMaAPG56rEPIcuRVCblIa7Oaknm7smIJPAa95UQ1eggeVq2KYuri4EOtQjGF73sPkuBzbLH7awXMhOLECE49skW8Wj2zDaUJsHtwC9gK1Bg/qxLCjuMugQCxIEeTk8ddms2f8y2CdFDpXg/tlUqUOAK/UlS1+aAbzMn/+/7ooDMM3/gblTOxOhM2l6aXoi3TrmgJzTkXlS9h5Uh+0wsnNUVx6rRZfJ7vf9IdNn3uSqHhGzDvIlDmpVc5sMjz7PSgEuQQPxbjVqNgkZl2ovVcAbROscNZr84suIsnT57oZqAmAkMrjqxXJXS6kX4HQDevdMPtS0YnhEhfzPpYIRwLU9ZRmoRNXcnQQ+uPAqN7Eibgkk4w47oFAWP6ALijFz9Rjw/tKDhR8kSn5aVSfseqksYh1k5ky1hLHYQblxY9SpwNknnTvxJQIU+6ndtSfljjZR+Bz+ERD71r6mmC9TT1oxuLypuMAi140i8fYOnC6h4deUOcNuOcWeB4XENLCDDgWPyPxUPqFG+08avzI2guikVb7JFaNry2CszjfxIemeI7d3+DeA5FMDi4el4Q/S79D8tP4I3HLsaeY7b9ZxEEBkCTDvOXXuLDbDA58uMmYTnY96QrQQV7ukBoRd+FvB0Dfmuhvqc0JxnlzX9AMA3IbiV/fOOPbMuqAYONkVTxaGe0ouEWzuodCm0IzaOaqO+wPZi79AGJTLabImfXBDAWYZAmr/cvyDngdPtRjHylnx+GdIwPyzqbss8ytvhhUh2JwIN+N1dTg1UU/xpkuN++uQvIDQuiMv67NsjXOwfeJ9a988Bgnylpjcmdv+Rbnbi32FSmzoim9/JRRwJbuhNViSVR/aOIVAQbTy+KyTXxlvGyhFzR5aAtgF6HowTkM8afE5k34+OxqBcHhup4RCjt7C3yN5M07K2XcsuRFMvfJ99wZYzK5C/4V+TuRpOhGh16cKdjdNhr5wHwr1GkbWjcqxI25vQjk0VdLSHtKkLJn5Rg6VFuSH0HvxZVd238fLwlEQeSLP/T0NOmPilW2Ds/BW/HTiviL2QFUHtd75RZ+RX13C1vTi9ZD0oI1IvyPETP7d8IvttGCaLePHS3XsgN/n2eaKgUsYDlXbV7OtpZm5ovIg4jYu9690SiYBwEo8oP6lT+ZaZkJGnva+prExa9ZskuINJSvBQAlBgJIo+Fa/zJBDM1Zz4QYDug8XPVYKebGtYGhh2qbdYE81oV1jB+K9SbYpy4qmr0asapszPqE7z/00MyJ4dNIIHwvpibfUzSSQxqmGsbKD5E3aFlvUB0nAd/FYYkbv/2bFHG8Qs6VTdY1RzuOmVnz7ReqYrcEnIs+Qjd96oVzHR3U1OCzJUG48rtUEhMRAh15shsCKUs9ne9hcdL6PYGKv8Rj1lX5d2xOHxNPMSsAbZlmRD6OQcPr1EmO3lQSB9dM4Nd8tJn616r/YhO5uW9vnm9pNA5OFaEhz6YOxJzfkWj8XlOZYOxSf8XDiZjntVqNLQNGdie5C5UhK40p1jny2fSALbnfzWhr5GMrZptugDgVfF5Qedy58mgu7shO359aMdAC69BgN51N6U77eLpH1JU0ow5OjROaLm3ChNGyqxSDCWmPGLdv5ux7sB/NSdRBqKiGT+gzfl1KdAKIPOe1wnfq5WrqbIueAwrcv0oQ4A0fMeTmo5mk9/oOk/u6pFeOpJtQtNnpIRs5zBa5TZUoPXHtmJT2ftS6nGAaHlyE2Awko+3Fgbq5iRsDyPwH8kXbKjU3XLcIRIHGfzH3nWFw1TML/Gstmq5GAGCMx6TKL/6Fp5yrggE9zv6CK0Kl/rJyrkYVG7yfsUqiwi2vvYF4VWbeCwJ+xuseyeHQzGs+x2KWxeLCHrSUFEVWD3FMqn8iaYPJbc7gZwwNHI+xiMGd7+N0aF2pph2MsPUdyFFIb97Gv3K0tym3fQM1EubkpAMlcb28ZUWEjOuWp95PYdivPoXTeD2t6TXiSGmN++w9m6Y8zSV8ht4MrckvZ6vesG7un1lhaZ8kYapwF4h6wENKbtDimQBKSWrmqhYJEQ6NuJ1+bydV1lsPbgcW6dfXoiq152104iupa35arepaWV0G+AlqA+5zWODPv0UsDOo8FPMs6SIkqeTpND7UjWtO5s3K1PZvSdjlwubqHQQCZkvO3ukSLluQq3uN2cn50PQOzea9+xYf/cOtc0W5c76mCfb/Tbog7ufm2B91MCTE4ebwF1mZEgB7hwB6QitoN+kMFfoXXtRSd65KGDdXtD4ir69pFBFKd7i63ivFlFNySylc6GM/CvBoz7sgzO0N68NCFOUYw/2/XJ+/YcB0GVjqcimjh4ppZgbWmCbeiIZ8cz4FIhHwHuYc+04RpLUkWuO3dUD/t9Glzu3cF/hoHel0PT5cwEjwghFV2nMbv5daAU3/tTrwYTuq37SjRr6gq9Nbxn79vzmVQH0/WbgftItMopvFSrqBDj9nHBarevYWFewM2zZwWsCjLCEL/go+Ox7hu4KoxgEWfKyWxFd5LWrf+RH7+9EMWdMzrbG9ONaUG/xaGmgk8yHYSjIUU6teESRwXUseiuvGBjYs7acoNxArqW3eHJk6oodF2nQaGVOAitaKOtQgXzJTdStOBXu9qpZ2MYmksn5T+T3zsAyz3JXhi8ypeeoZyWc4eswv9slsDHMoNwUp9ahLFZTeWiATfpLw7r9+eu+s78DTgFVMCOkUdin3m3ZeXGC1R2fyKHsVIgQgJWaXDzEvmGtwnBAK0Yg897BikahxZEP1clCHae0xou+buAbHCTXFJc0QxRnFR/O/4zba353VtDhiC9L8IO/9DPilE3JG9KCBIvDqSchNp4qqdNFokOxHjm9XAblsqUinlWngUwxEW30txV1fNWLQEtYLNbZAG4oVedckasqf/V9BtLEFPfV4x78ltnrbjB9RaHyOa0BWKpM3IX28l4lvZFRN6RrgHDEZpjz5pHsInsI74zYyK6w1YX3rEbtjOPqsjHw8HU8F9W8e6SLFMd1TPyFXAlQGzIFG10CfQnHajBwaU+3Rfd6yOmUj/Kph1squgCYo2ljuT4m2CMrOrTxilZUTwfA8Ow2Af5sNnSXbabd3QplQ63CdQ8Nu3InUHt8CZEcMwNGN2G9uJw+3PPZ8eMz8CH2kMta+b4jUsGz+0nba92ShCkdwCWN3nQaUXtFq1aKal9HQKV/fGmWTyiJgj7AY/UoYxO5zbicy4h/HNLSvJ4qmRRKIXgITujSh0S2iPakaY78EvabBIqbouoiDO8GEa+mffcqItwtHuJgintrKL2XL6baqEQ04lrElR80ociBlHtpa35xrtiTxQ+5DEznuM+fIDqJInIXbUlWcSY6n5OLgufCXitFlsEoJsC1wl8hcBCmN4Wdnp2XJsXSqhqt9b1xvxhSyqxpcfpWaRgjBShIq43jSbJwOwE+3nM74rmf1Jm+BKvKEs4wvgrrwIqZpsR4LzKYumPlQis2NJjZKSg5XpyruxeW3t0pG68+pjAbRzHu4J29Ujnj2XdbEdpq3GeHtFHyvLQqKH1m2laX+/Kc81EZA3qjwGtMrElOEtg/p5i9P4bHuPfruDpll1peuMpCqFxT6LrS/B79gKEUcdiOAvnoQENhg5Mrui4n1RpMuilLRo0WgwbojCgoYFCmDC3Ht4imstx5zc/+QCE7Sa3lqqlfoCtYD65PZkZT5DNlTYEbJU2SZQXgGK+nXykBfzr4JJKggZq2ohN1EoFN6UNGYGkwrN9LoN2yP4Gr2pOaj9u/OOgKHog640GttLcrHdUOfsrKZ9YA32NsNZe+0wmDamfoHMdjr6HcXh3qZgJHE9p1UuZj9WaQShaTDMpyKs1D5v6sAfJMQ4Rieu1plsaF2xlDsUqNScM+xRiQsfhOPhdSStXKNzPeH+NQScPT/0Gl/iD2dWHo/jt0eB/g3PpumqMigDwpTOXySdAZ3yreqf3cGYsOGZy7HxIHTV6+nOsdj/qhbXyTEnhYTw5cke8g55R67PpPSvsh+3wfSpGgSzuA2g611Tni+yT41t4YO/Sox3MxxM3inVBduAJkl+/qkaCCmPdka2u2I8O1KhH2nDAr0GdYVEBW8OvdmY4E8o9Q7Qond3BLgvsBLQoJIutE9gh134Jd3ELqsIWYwXC6py0TRuYyXBwZjyUe2p8FBkl/xy0H9ZqCEB7+CbAuIT14WDUQZqQFILnrDvdbT3op9L58Aulf0zWDgcXSbCicL3Ew+xrxtk2p6wk1JKWXJWftSb+kG8LeH5/b9evlTFmqT9CTFqMl/ZU1OhOq2YXEVFYVGo5vtYJKK3WSvwAGpv3UrEG3JrHFRKwySwmCxHIlbpjq1NMs9FmUIeD6dNAqBWq0WOyhR9E+KRvDn1uygo6O8q3v9DW1E10Ih4HWW5fRQXsiA1fKm+jMyyrUnoM4FrkbYorI94Tad1SlX7J/iOY4ifk2n6uHotAa02Py/TMPKx/wq9+ffVk9Z2WbXFpqxOtCJBVg6UR1hKrsN8xn/pJD1KyTH6XoNOF4k13LW5J3F0ELQvs2FhpqKG5ImKjDLtwl8+HW1nxg3+2akXWW3DTdYltFDCKS4hcDjsDKoUqODEEXBOSz2NjCGzP7/l26iOyCW7xzQ1kZxXYRk0QBsQmyDaU3Ctba9aJ12iG6nnm9QpcEOTtHKBRDnltmQLZRrsKVaN7rsUdiBGhiBX3n6YVUxNsh3C7rNXbVPYRnE2eYsxRMHl3Xp55/IDzdS4PliBFL15HQe92CXyPUO18zIxXJ3TVaWd41yBNRLvip4UjhziUtGPjXfSVV83S5Evhdsg7jSiJgMo5yKdC04+LR2DbCbsuLjXOokoEk/Ce52iO4Jz2NKsGO8xWSh7FoPpANeekQxuIgeef7HHFeqjkrpHNjWrLNyyF72NgKySx7a7bA0eCsqzt0ND3emRxY2zeuhM4yMOaEuOE6mBzdAlC3fpuCHsiAQMnHz4INhATM98c4uc/tSaxVI8MmRBy+CmoH1EmNy3sf1boMzG6al5Eh2vCZ3iOMVXRtoP4d16BUmHg9vupeIt60MFgJjVuCKfKZWy4bqU5vVPbD21SIHzGWc3zdOz6ZfnDT6wt7DDtZ5MoiiqYfSO1DJiASqgqn0lyaBxD7fH58LkS51DtmHL95vez+cWR21+AKTC7770F0MbNVuss7RNYfAPxOdHO/TnwVDPhH4r81RM3XL4RXCupVKJj1jvAxIAQRpwUrAxFFMiTvGXKnZBoZ1A2dxoEmkAz4CEctJ9JOaVQqdZnfXXBfsS+BRAzLjVABlCOfGdB9+xQloTzycYmx9loQbvvgzIKK5iLb3j6T2DCaoC7vyUe8mYhbR2zI/6al+DaKEEwD9SGm/zhBJUoK6quJ7Vu4dIChWTq5Wt/I/wXfyYuVJ2FxjaK0RcXrcdEUg0WPCSBLzQM9durDTLTG1Tw5fugREoKDGHAA8HA6ODHgVR0wqU+kxgVDt2VwMxdLuueFPq28VsnoUb1bXfAlLd0wzt7Maj81hNGs8GGWZeK/rvnQkAUayGwpILANdsGv6KnCg+iSo0th8kio3QBwA5sBeqL+OkFLDdX8HeKN3x1XvdL5ZYqA50W0CInCkWqf1NUGQ8bzVrlWQ7km+WRV1xsd+27ODh8NYggXrMcRXm88wXIaEOjTLzDULX+nwDejCQVFY5zznPWDRjW/kiofIlhOzFZ4LJKCkJpWodY7VygjvmJr6w9JHxdvHHS3MOSJ+ULqkTLyjln/5BREJ2Ow5BGiM0xf3xOCxlCBY6ioXoM4SgArmbp5PIsy+HKSqMJ/vrkad4sazAjaX8R+dJGJvF2ZOAV3qB4UEXb2Pc2VC+3eot15S2/kJX+jR+f86XLGWW8aQ0rh13AQsnHbAh0Hxp2nl1RVXxts7s3Nmx2u/Zt311GCfM1USh3Thw3z0L9AdGqn3CyYpDL0JwDBIS5yUOzUEEksA83Bwy9KRMvdQFqrSphTHDG5Wx+BKGeikbndjjATdYQqZnsqcP4d8+QgQ8Rexkm8D6M5zNf3FE8C9pKiXtSBDVe9Wh4eT3cKXUGKLI//iXCzDJwZht3TJOlrttAeX8OZIDKWTHIa+xSz1PXpd4m1Owh5LgfND99BU1HTXRe7Hj4upqChMu4hmPsVBJ87zDc7flHUUatki1pRVpd5MWBFU+NE0eUfOH0MEwn1aqVy5dJjwn1ouZ8OjXNU48FEM6uUWqxN/Qygr14rdqluwD1WbGrkm+7uMEg4OAc+IOqkwH+pE8VMf1G3evAz/FwhuzDNCdFzosCiya5dSA6ExUEURFJeyuhiEa5RMbrRKxfQscsMvgt3qg6VaL0EYizMjiOrasBJNzUbuyz+84IajTvAWSVhXfQNznhGEf4TYARLAEcoo78lT5S767AATjUzqmxo0fl2whij63mMCdLSa0eCgYx9fZhzkZAWn1sJbxLM34YgNhVdw/UY9rZjBaCIAhG6B/p0AMhQosNwVKF2UbGdD1TbOL/9F5iRIyk/nNY2NCovf0r/TQiGnCzOkNUHBRwHExqyFylQRBNUNMj7tSaoGOzSNCQPA9A9HOehBxTr8FC7ymvkypTTj0gggNt3MRu+dYLyuUpxwhmchF74m8796iPOR5M0M5DGvGAQk5i65TSljZmA809fHExTIO46pGAKsJFU+D+xCzoKylf9QMvenRNaSibUM/cYN5H6Wv0fL8lZGzbYGzE8jl6C6naHqxcD5qq6SQjWDMZfrI/LggBolsc0XDm1XtyGf6eP/qjhoLHxF0ixy/wMdW3QjkAdBevLlV1v9FGGl81QXgAzrbf5u2+EActS1N+MxUFlLoimjsNLwSoiCeE7rbRZEKA/lw7OVC+kI3W1X6b6wBqS11i0KchYuUHbASu0f7skWhvzIYXtg/af6/i+NspPIB3d6zDeMeE9RzuXXfBnr4DiM9It7534zXyRIhYG4T/uGkEnbPAcJG8Jt3xGLEE43Mm2NCGa97if/EnFhRb7AjL9LaPZUOuCZUJA3i98pYIsoTkhVkCQ73AxH20atjRL26Cw+ExsRY75Tj2+kR0s05I3ksYA4Bb2R9LQmokgFP99FAERBHVWW3Bly93Gcze5r5meUDFfS/bfaKJ8hWaBlAkLsI/bhtfSWULNpbqf2t+xqkOAah+WjK71GWqidOJux2DRnrbd8pcmkHnfshnsWMYSPJOZXoMX6W47BqEDLQeMzUqlJ0eH5WiskWCh1+BijqthI1I/JfAE2TT6JsK3JGrz45RpaNStVhPa2aVr8FLEU1z8vVrFTIo0nC6y6m8X6lQWFhWa1KhHQ5gKnJXahMeScesyFB85Rq+3QWACQpMYSb27QZPM0lOdFglmG3z1RxzJBdLEb4+jPyuFhSrufI/MDhjbdo5a/6tRImTbwEV4JBK3/c72XoJtp2JYzNjUZxVTzliCdvcC3PcF4jJHdVcG2bgPsMvr2MRfaM3wdbWg/woD1SR+mctPepZttSNBZB8MCUDnKmrcH8GSaTJN7tn4hUxUsPNkGkRc61U2JEYDdfEWSGoJEShuiV2NpOD+VRjUD6ULkZoh/2aTWXlNLAstmA1VZJMhjWdPRSHaGfMLpEgWSIrJVkGkt3ypck5SROJrMM1i9JjdRBkot2g2tTV1GzdO1ZBatZY/iuuY6+MZ4m/LRdr/Jq90xr2SOnafZaa+YdfUdu6egn+8PXfQITlQGFggbjqkdgW1DV8hZOErttcGOATlN975PnX+LwxVBa6LXYEBw036MtQjMB/i45fedB9HxviU1TGvinfEOJh1Ijj1dl8XvJGcqAudgZPfvZ9zOfHV90LMT9jkiozVSEtLtfuC1j/R8wDgKZziVdMc/GfP2BKWRv0Qq9UA/+pWoBP0m/vKNBlKyA/+/8oPzfNfbGtkfUy70JxUOkzZr4roCiJ0wOhpmUAhmazX3nOtK43TpJasCNOr6xbD98lSSFnRvCtXbSONQTuadwDGvWXSWOX3eEi+VOeX762rdCEkpRlC5iF3HJR+7PRAPvnnuNdykYbt5qyW4beiyhqBFLnY3UwJNJwKIpYi9ppuUi4fWBMwedNW6eHDBLwsKNuK0+YFKaslsyYkqGBk77mkJSloh2l17qXE1dR6ZZ6/Nbl8J0na1YloYtTgoDKEV9QQPcvizOQFdj5EqNQG1cuLUFOcs7MAT9lO96CgG7OsD0Auba+k7pxptmzbqDqv9AtQ5aQR2/3ckAMu/wcMsHiMZqOmOUJ57mYNAr4Y6+B61D234Q4LBzyrVRaT9DyPmIQy3FKQ9xTqlp88tLtHu7KX8hgk+DvBKB/JyLWfpI9VFIK0KnfrBxVxb0pY+KAWmt0x1zKPK8xMdJ/LxgiyEQ/wM4/0dxjGAe3WXF1Ble8JNQGEJpmsuBqWKNxUdLpS/+cXp49UnSSDqRgyk31Rdg9QoBq+et9Dv8J4ObgVl67pjWCgQrtHms19naz8/zH33foYx48moljjmbrm5g6QjxrK70lD/8EjzIrRLz1QnLHLpb3ad+7aTrgP9TDawK6pPTx4ZfFqDFsEmw0zPRDC28GAiaozrhGK4YRDc6393sMO/A2XeiTjdv4lPlcHXo7Nk7n/JWM1h12GJtneJgWwxaymDsaMIYQjEkyPDqgq1QZWaoqF564CowexgEVDr02JL6zshMNNGfxT6oxgkWVnKcZwNNT5RgO5aY4KaXsMGtVXb8Y+ULKbcIl3l6VgkbZr1y094P4dMpL3kzuztbSaUbruZYyjMuzeSoRVjzUIbRfzfnMr173u0MrafxKgKNQC9m1c0tYBEKqq2LUxlfqCJOB3wnBe78jocy3aqZjn57b5QNP6TkImOjo8fF6zuJ20Zja9YES81ztMFVabioJ9P6lIQ49tjEoiQ6m/gUzt2NehHF50Ii1rGWIXuI8Y1jE8JwceAYBK3U+dAv8C1xJARVZYBac7nFvsuEtXUKCeVbiTPiqZkaDqcCJVI7i3AVtu+bGMTuRKQY7rQ6jmiOKP9ARQ6iLz7uJd9YrpC1Cd+VJZCZgJCQoo2sVt1rHmwzvzOoLh+QYwUHQXV3fv56Lk3+qJ94RfPClGYakJnPzZyEjpcsnVDZG6zlF134XVYTR/OTWK2RwWSrQ27wFm8sIbirxgh0Ny2l/n20i0F2naTx54RbrEplohLeOeuungpmIfeCpEMqoqgjqmdsql7P3ni9u3/i6zvqzirErvG95poAmmGnDvMEso4OHkfB2QaW8/+DRvAjpYuEPV0SIIFApn6B+nxvR4uylQ58+pNRlALvx5BKvYzf8WpVMp4UgSdo3CDbcUZWkZZVoDn+S1AF7V5udYAuQZsn1sguMeFdk3pQNYBZgzggEqN9LGAzK1iLNK/Mh+yqp716d/fZ9Lfo1ISZ9zkwbFz04YSgmx9w+Hy0NRlMfqfb9UoXvFg3IGcWX6dD75nHKmFDn8zW/FhrMxI0WwWcYZYFOzN3FYDBeV/vP/Oub22Zo2JtXP4qCVZJzS5ZlSatn/XKeqfwlgFe3O7nuUY0W5vgrNsLKgKlNvONcJ11aWwOXKBjC+pR7W8xr/fjhpEE3xkO07JP+hq8zBZAeCoxn4oSGBBCLNEQnUtd3bGnBJH0+vKM2L6h28HKAR7kzXeIxla9bwyHXI9Dt16I9SYtGAGiQPswcX1amBpMd3eZLqMFf06BXqUAMpqrpKUdxBrYGkLtrl4QT4PHT1eEZhACqvhlyWHAR6IcL7w1ir+EtWYnWpPeEmgW19DjvpSstTU89D2SumkCOTg52wMzwq8HA+QTUDzPgdsrvPxvDJAjQSVaIwWiTI6pt9GAfEfrTGN8hCe9pEiLrT5xzPHuzMyrDv2TiLk4AXHjAmwrILQOg8NPnVtzak9VCB8ONYYIt3nRc5E2K2JqfZAsNCj7EJTY7Eh6CZS8R2bPJZSuV6DIR3oTwtVF5Lr0GOmUhxjEcUzgANGq/Hu1K1fTK7/S86uLzos8cdfgFw8ctc+lz6NUR8a+/7o5GVLtgFg3HwCZWkxOS8UyWSkMYh/8WiI4xo8boYmZ8gqW+1uXRMlF/E0VjpE2S7UjNbmjSgcEAVLMlIpy0zJzyevfTYs0wFVDtwIXT54XOb5JaDSA9a94qGKZ36aMhTap36SjE4Isxl9fJIhexfr2XC8iC7QjTnrlxHaGAEeEziJB0pNWMRqKg+rwWiMvdp2A+SFDwaBkwl+NyBRqvnDim0tv8DM2/iKJ38tc4aIBBikfB5t1zfK9mJDSAW7pMIH10nvoDXlCRMoH64ccLDFzEYt6KYFnQIDld+NuqFDKDwDpvPbdxPEWwc/Pph9OqUXKwhkId2nP9LIKARrikZ8fWOHIywS1Igln30lWrHwUMmKQRmixkK/x+4VcjBvGweVMSj1jjudodQ45dwfOtnEO8JiqSxcLGihjPdEPyXRQOY9P1cAJ1pBJlHNLSzviLFL68KbKyRxrRhR63u73gksq5WtrpB5D5Y3SeFEtwaDyWCnxdVhAAUYKCW67cSVD/OIRY7uVWmXomfE6nMCynWUzLj1B2wC+zecuXGW6QCgpXd7pwNWkCTgtbboyIPyKT8s/xYvO91oCVoyGPWT37vV6ZDHfCfr1+NCucKK5xXT+13PLJ1XDifgvMSxhKh3hOn7BxHG952HpOEQk1FNfoiw1QZt4JjUjvAo++E/w8PwmvdO9iivTcwKx7ZUEQNkDL8BHM9LYmIYiN4GChF0bxiHI1CZGAXpJoMWNlowbKntdKtSPj7fVZklHmbPCC0WxNHgTdTU0Tsd2M9eenjzik2cuzT+VhjHr8Rj5LVz2EOLve06aNkDVsySLG3H2RhHv10dtH8RQ1LeL1IiiV5Uz4/uLXdLMDMEzA9SSBlZiSAyTSWY4Zy0DFkfXvx18Z9f+zcRAOFU959HoZ8wGfLF/UUGUUCfwPiaj0tH9sdbVBoR2Kp+S3L6GS8u2gjg+LshaXRu/4V1wRUTRteekt2pgOnoRl706NqBQ8bWknKuONb3+2RukxmpnkEbhTrDAXa75mc+/8hvOGG8Zl+xtStlLQytNx1dyxMIMBC5IMBA6QYlgESfa5g+OIqcxGwe4jUYXYvmM+wnM34zTSTbYj1xMEzWZMYRsa/GeiZjsSesxyKvghNyfZHp+PH1/2Y5UaV+nX6FBZHyDcklONafpRWpYmJVzAHN9soJaq3YfMZPNcHaAzQYc4mDOdeZTyI9JqMWkuBhC1W0mPpxAoGkY5VxvJpiXV84K5NJy+Fy+mi5A7IQsYbkybAI+BCMEc7/Ndanoktyyq5hTnYbIP6oK2R9g3SBADccnfbDto+2k229Oi/h7cLgFnPthmTqc7oV90fPsOznipBqU3hQGOe7nzkGSJuNCp4MvYpnFNivRzwYjm9McFlHfwUbcqXRuL/XdemVwf/aTLzPjRxx7YAA1UgbtHMCb5POwPapFCOxb/DdnJNFEDckJNPQnWMTEiqZdJweScNWCIEZuZZmwNxY1AlHkz67rRdu3vM7lHsmIifZO4IHWcS4QBRd2cyaM9jKv5ua9zwvfZW2C1i5N6adXv7y4MT3MQJBrIQCw1ppCYZHC1Poqv4fpugcu4JmwzoIExhOe8Z3kv5fSzQFxqEUk2OZXHiL6BEep3dai7KyZftpyRlZ9hahhDIcrdVV43BJjM9Y3x6ixCwcZZoh1gsB0Q9XYWTt0fJwWhuKu8ueK40Elt8KWyyu+LupRKcggtbXNo32KhKjb+cdVpfTksxJ6z6JZjc3WAtOKEC8ZKmU5NbtX9zy9raEdWPh+3dvPySiTfV9S8UjNviWiVXv1EqEdlRuOjdfVyuV7K/UNGIsrQ59ZbAK0etCGJmef00tpVV4PmEZCyh33U+TXXbC3Ek4i1AyHgujNl64FrfH00jxHTASL2kQTfp/vk3s0OcXudt+IJWVwIToNJogkp4IfnGpz3B3ENn0/PYEDtZ+YokkNdrLOa+pwbk6QxXkDXJub2oT5SOkNCdFJXmg/4c6vPTncSpBbF9T2PtXpUmKUj4zstSe/Aw0EVSATRVF3gXwXm82WMJtdmQ0FA3Zs7wjpw/G/V8TBYC/6cLVezhkaWsDml8phzs9wwMAwFiZKtGdwTn/Azk0YVc2Ht70Ez7OCYF4qOplV6G5iKOyfDxKqK/y79pUG/bvqDrTKEAfHmZmSDCuMRnEunGxlvIVze1JFn5YgXfxiQUN+arB6XiXJuaurSIy/sS5RxQp0phFcGpeVd1MfmLzCkbrEvTwNOmrqbrvX51FwEkNotOpfEMM0wa84dZpp6gUfwXHnlkhN+YW2Cu+tDqWKVcqPkHz2cEB7S2qyeQ1YsvcPhTJ7cBeKDD/xavnjKzYvHR/58nQh4n3eag/RaSJ77HeFN92BBhX8Im8ZixGNyMUeuJGzG8A8PSjylHi1sZ++jDwcw8QfonKSMqwqro+5KNJ/R4h0cp/GIgFqknUMCfm92tuC3PlfedRkj55KSxfElSz4lYXWvRxER/cl4KH5s8yRqFMb8W4N2OqSK/nujS1u4iTG9WlS3CPt+WM86EfBxS1R2ptMpX+BVHYnQQsUFNZpvSvIelpbX6OQU4/Ph35mrMLHiSshWkFXfX/zatPb3GX+pxGL5T7Ta3ctHUiTnF6jpAzGY6vDVqQe1Y/gS/gaL6wFA7y6yK4m9Lhxf3vR7vj3/T02HRO/YF6QLoAp8LUEfb5ACqf0f8x11+HABGIqcVHV2/f8SZaFd17j18O71PBZv9y7GEFOP+zDVoljUEDNMqjyH8Qyl3JMaJ/WeV6iP738Kt6DwfDnu1+73nt94F1WKsXiHdFzofFS5uGcCcuLpz821IfC7Qrrv7Y5zTMToDBhscYeNWDmbpUXpRNHfntGeXl0uChCLMfcjL4PX3GvRorE7/B/gE03IAGu5J8AGVxV3FvM3CsR3BaFAmx4D2NrLQXowJ/OjBpAynywSyapIF4YFcCnAEIdQuCvLQSqqCxGXszvBQC0DE836EjagQSoVkXWH6POhWRd2zhd9FfNPBih+Dm1SJq5lAEvNRXpKjUxoyYBz2lXef3fp1dKSPaYZUKotaBqUNsBfH6IAzoQSNv6fRYX5yuxze/rVzPjCd2lLjx1TzsTfB4qrF5bVfnDWihYR4Q7X+ZPQHql8mjBqbVlOUqvhdvvTt0+9rfOE6qZ18H0GCY3TrnHpxdZF3BDkqww8ClZT2nEp5sLo5olN9I4n1T79daDwm6ZcX1hyx/LEtbQ8q4g8/VZYzkT0Ij5RrKu9XYkkS0F+ELZxLTbogIRXjZdD6YgO873sXWonkkG1ENS+oC04SzULJNsifCpMgfvgWUYdgfd8/1geGvkds9DyXPy54Es8lojkMHvy0ZzB6L+qSXbLzMJkrRDvMIYrnGE2sY/lohn7+yHrve9r157ZtNDsc5wsYrUOhEHOSwqIe20BfZMGs+25cksCGnbm9+wJDAFZnB4ZgVcMV3rk/qUYXgbzwOcqSYizrQ57WjC8SWDqB/Z2yYsJWbNzme0I3U07KsrHiJ4vw4We1JuIiTje6/N8DzNhm8ABed/GW/BxBPmcX3i4kurpLMKmzbvUf82noIGTTLKvqyWUB70d3Hd7MJ738eR/Pq0egrIbCZBk+GnNDNgZVu3WklW+8gtB40qWPhi8ni6gOsjZXRC0NZVSTfbvXFGuzQU0hvtFYBCs56oCqSCjNhDYt/UOtaeIcV2Yyq4WrfEORi2n11d0B9BTBae+ADRNDcpSWsBHXxenB/hejLnFuDdSwEdn3BYJwuAQtRpapELA5w+zZGyBqZtudg7KR9DJ2iX3+roxGPsqxq9VQFQvXiLhpgVuJVobJ0zuOof1sdwO+VwaQRn8OdJANM6ZytixJQyjYbdbGVfMRTSalmkahIYOTzV6wAyKlfKAAE/FgkKgVUz/NJiAjX6ZnelwrXvOMWQ7z24mEti9T4KNx5dCZWSPSViX4hCj39UezM0b+1rtOW5PBSuDW9xQWoina6PzOwy7BQUqmkBAxQTAIUVxAA1lVLnMBRJ2d5VLWuPN5v0+Zzn2SdVNmnbY3ktRHOx2505+pp+vJ2Wxnrl6IfkWzMNF/D3anfGP51XZq+2Q8yR0f40s4LOrHvmCoc4gx1EvayqCjAIVEba3WraLfLNSa1gmi+hfqsTzSc0hP1Lgu4nBI2ezAhE46M5TXtLO3479Ay85EZ9KoOrFJAH7X3N9W14QyL4AibriAIHEmSdiFyRA1Zs/fMuQtl6AcmHgnu+fQ6GTevaPeVEKhRuJkp8jOxSV0XirjIZO9Oa+AK2551NXRrNK61M9QKYo+HfBi9l5Va23Y7TVtDud+gjaLjcHqMzjB2ykpTGUzdOvJfGpeLffx2TziqzGKjejC+H/Dv2nTR2KTF64MkOFmMEFWBK0RbesdMCe2E3rvB0s4hNDYsYIo+IYPNw/ncdW9eEzyvXcqvcuQflVHvZmBbDM6z3TteD6GylqIRuTBtVrfroca1V9yGxyKb6Ks7u622idk4OMicmgCcTEKLFJ/svpxBimV9UC0skik2C5LMjKKNUl0tfb4xiA0R+a41pePA/Kgqg6oARoTgwL1NtX+uwE7Is7c77tndQ5gRi9AWZEBNUjR6Cqidulhevyvm/pfE589oV6zhfot2zdReHx1ExKSukWefmr9Cyq+a8X/Sm29CmMnWFWx/1twFA47TK2ZFXQ5vh93amgsRAq2UGiQo2E4NE67rRe/WhS6rqu8ST8SdEFa1/EHHEYfaOR5nnnAGPn3FdYYMQkX9ntjXLrsTVSRoOtX4jgBYAkjT1pwSDmqTNSUgCol4qFArRYi0UIajaU/4AMowCA96FDpm0ysAv9kXZtWwIYfkD/C0QS6D914OxYa3Ut8TSSVGydUUmOyvrHAy+WFmtJCyMKKbTAW+EPouCUUe4bpJ4OGT9B2I5C6U3qIpkDqQyrPNqDeBSvqu1y7UFMaBKbxpyQtKEXUj7q1UJRLefUlKXNT6lbD0n0e0dgPlswdBaQIQsPbXDEvG8YsrQmeIak0KMB8GEiYEvg8rh14XzMoUhm89qI2jd6AX3HJf/vGuc1Z/yRlMFljDlNcbGwgdfMaPRwVsoqtXIZJXey039TFd/SlPwPioXxOCdaQ0vby78iHZxXOssq8nw1sdRCcF8mBKu+fZ06NcbZGMCN08LsMVMuEEJX1mL4SMbJ5+AbPg4ruElyfy4P1OkmixO4InLfd8PEoXKPsq94qIdD65zi/T4qTm+o26zRvl6bWynqfm0/6FBs8zAaUcAaQ9RPFDaX6wftLmpGHZuZj23X2M/v8TBghtzzAHb/bBccfHm1xoeN7jYcNiOpEqHYQck4UqGXYL9HVfsEfdoMd0McqLrtGh9vVImkOs29/k8ntj3DQrO8vZMCVkCPEEBCvHhVZKTlzSoIZv5IClJvTwUPGTHLqdYqejMGFgtT3qLz+p3EcBD2duOYoduIHvTXMZTVH3U0Cei6piTXaS7J/aUmheBktUZ+LHQfl/+l0UY4NRCAFD69WyRjZhzZruQeBr4EoGMTJkA5MzxiDNshXQJSk3ucVULoSCAB2xPe2L/CbSNMLDgMUu76/wRMcpj8sQddT3cXZvSAPpw3iP2dqhPs8wE9lkc6TFSS8Unb9lXPmlJR1ld50W0qPPOXgLaqueg9ntCvmrroHWVsAStLQbn+L1eEa/yDi/OPn0MnU3euHJ1iPBLFJunWPBwKPXcFRn9bFubn9UVWOYWeWGztuLqVVZtQCVDT//pRurRjNqVW76vVUiRx3BH1KYFEbvvLev/gxCV6z73ZkFt+vUxmv/Ncm4jxHw/Sh7sCoM5q1h3azpmkVk1oagBbZjE9SLFJ+zpM9T1hBw4bBNc4Ki3OujjYnsuhz0NDz3yelemw2wgYwQAb8Ou12QSDq1IjXwQmRymitFDS96idrKUVYic7HPUFXyEivmXJKP0G/HgvejrieoEBv08bdLsddz0Mnu5tZka5oHKHqvow9dGfOndLkDBJ8uIotX6NyFrtM1npIHT5fGyFJUl04mbbW/GQF0TUFdjJuwktmkDGAFeqLgWI809349d1x7svwxbLxQFpktnpZsN41QGabbaN1bFCDQd8X6wlz1Kwx58Ak7QApG4Ubf0cVgmqWGInDwCogC42OBKgvSeRkVT1cDCH/1Q2KUhA1K7EXW60kmK4QQU2TzuzVHQOhgaKc3pc219yRcUtskjc0UAwQDjKykc4O54JiuWcHZZcKcGcVce5dSScuKooEPl797tkRyhGzZXw04F6UzEFSSaQ9MzZHkt2RM/2huHv+zhBKslzFrYeSTd/gx1LtpitAzRcgOXl31g19xjQ1/R7BWLYIHM2rNPKizZjALWGuqVQRLSySiIpkeoZuJXE9svvzzsvTvvVv4AkJYCd8uHA61ubYY9NP4CJFkkJfEHJheXXTdARo5wxoqs/eSxyXrunTdNmmZG9inkYQJf0GQ98myGtmKeQMt9NwN64wdKWE555yz69cQpXIT/7jREWxibCDwCQ3ea7IFZMxHOJrzh3rkGu2YR6dxiLCHimnav+YttRkaN4PoPoNBEUwx8Ksz0vbOGFVRxM17+Tp7WEOcpYuzGjgvfkRHHcnIROvF0JjECH0V5OL450Ushr5pf6WWf089HfJZuyIpPYHGpmnR+SFq1b3N5KcVsalhJijhVEm6y25hQmOgHE3TTA5JmPCgfthkTtEyVg6+u9+wjf7QNsatNwbonwS9mGmsPvbgrW3ocuZrKxxEfPua9gmqZyK5CJ/foGb7h5yXZacEg+mge0PIdctm36hXoHjqf7fqA3iFl44wvFtGGHU0KXWjBA7r44lQzgUOyteHGcWQoPp80fdtxpzfA2JY9M4Sw9scRBr3RzLU4/0XBqva9+wgOqb6j2rm3csKoakAqBWDg+XQALf1iLELGO4vip0QKucmQcL3q18RwTLxS6DbVKyKSKk/BnXzK4adtM7IuwbSTHfTSrRvD5qYLfMh+udNBQnzgITrdu70iMrtqriU0SvdEbLorG4h3vtTJzvAzw4G/c4gstYxKl4edRIBaf3k32Wc7uIRixNrepyw+nY0wEbBOJp86eXgrYgFcjLVBV34SxdsZ7KD6txTo9X0xdCjG65XhTxfF1qXWFUMxZzv5KTOkQYt7Dbws3NqAYkyvuFejFK00ye3AWCKoxfFGHabYpjdrW4pNAxqA2dCV9eGZUQyfykD3zduc+nNfQFXwI5oyYa3npUwyIKr3RYezq3a2hUodgyuU2bDL43xveBCWdavo+oqD35zXJQlEwSeJM43aRU/14fDrB02wlG3RFSgvkBDmv6qiDSZrtMn/KElHMPj7Ogh46hRXgwwJHM5PVZOz/eQbpD/8nhOVVOOAKKwM9+KdpfZ1UQwnu1p0S6bMPaDh9mm02OqZ2phKBrPKuPT50CXUlkBBQ6okEE5M9df1W+uZGaQEDhwssV2lRrS2Uu0ateOIB412VB64jFP42WBe+S+8QnnzqpiCsHzyuB/AYWYYRsd90qYPOgyKuJ1uCyQr+ap+SY1C/0VtPmIeN8Hbcjij/Z1HbjM3tNq6/UBDBSASTb01aCKInz7bqJG7d6SZFe71xKuveeLfFRCggW0HOcCkn8SzRNGj7VtRml4jBXENM6Gam3OwUdyQdD5UnrL3yhxZpGzmslQIPCk8ZlWqztxjbAQG0yCAiK3Qe8u74rLl9prMlqhoY/rlVeTktBjwCEnX2IV1BDHYWf+ursPmTHdoVoUA018uFJiKQ+cCUc8jrS8FObw/HgQU3afChJjN00g6bD9hwdSaxH639BF0Xv1vKYiKSyYbIFlIuGuW6KMEAX0WxwdG6fYwXS8/NitvYvuGHNgBiBYTb6nlr2vK4OlkSO/cOnFsnzhj4c6fbWnxj/Nw9NUbhyLP4kHpZlrz4vA4jOQfHoIM0/orEoDgKIz2paEv7Mqz9L28hMllDpMDa/Tz6Ln/0nhDkVwb6L59/6Xs2IWA9T0H0cfn07PhOjza4oPh44jwfx2iSWLqiRfFfpmK2FgQ2ZswIfMAV2NHM5dNXJ2ize4p+PQVNRAQDZRlwVJVgvAKJ20U2LntnpyUIHQbHJyCyjsccFsXSuidb5BTFyKHGrKb/KsBt3YxPhdcibS+JeiTk5JLCvhi+NJJ34JunNih219A7pTXbdHl82rshNLDhSeYGCf+Jeq4ddvbB+5mjjDa9V2Ks/be0L1t8KJrzxSebjF7J7L6VfEdgywp4QeQ916OOCHH0WfMW+KfeJjTekmKHKTwRRFkHA+fd3uAZXSqzmUTnjGlW/4yOkoD47Hs6pBoxYqUB1xEvj8kzXF9EY9B8I0mMBqbBR+s6r70KlBrXF598yan1yElOW3H3ik80evEXFvAJemcsLTjiaHnI6rF5rWgTx0JhTQsGXn9SzesHkGmO2xFv6hrcyA02aqdd7GdvWf8ZEG07mIT+dyQjnjTWJaT4fuS/9NJf3wN2ONuRd+07qLZ0fp7u0o7J89RZMRLAHb3p2q/v8k4ITvIhmQitMAKliprxdGt1+J6Fd1s3QXQtji01RU0yvd+XIjnPOOOEsvkvTrqdrej5czEpp9lSW02IV/i12xTl1R4vAzVDxnMlC0Rj4tk6YIqOZagXLrqME0g3VH9FK91eRMlqm2Y+TqKvvaelE/VBMec8LMz+G3LqoNm3RDnnSz2zbKdegfgqyVedoVPcq9JdYLYnTT9PFQO0rT6N5nVsAr5AmWrdbUh34dQSJAG7oPerG2tV67vN+T/gKtG9rq2euZVHMsz0jQIZVRMBs8W5+ElyeIBxuXd6b0XsJZb0YU0CHZmnxBfMUDyp1EsGK25715cfkNnabnsYsQaRZFjnli9QOgouDzGL+TAPc1/41mObHJLbRh49LLtrmsUDTDBtiD78o2k90ggF/lj14zlfNQ0G0zTHGusUGIuFnzagqRE7Mgp4fBvM7KX+EDSBeqwAStWIzYJUcxEMidCzGpNlEGVgTbDR/ZQRn07jV8Npn65kYSFldA+RdzRG0T83D3Jv5LO5YCYQ/fTQafZSYdJV4aotorT3PtA3fmyOTjt0E24SpES2DoR08gWHNIGHFzbsEBCmPlBGyGDI1QyJ0CRjaVK2B/K9fPL412apJgM8OoXCPnWTDoTQJJo2a9u3kt8EBJKZ/h5SQg84UtV3MJwMSWkruY8sG/TwZE/tS2gQUwY9AUOmg0CiGcobq4fBxrf5tHIyT4VXfDHVfX6XSembszZ+E54rl991c8l4YPQhQC0w7eLIoDeVZRqGu9hR6ge6GZPKXlMthb3cRuj92I5ul6udCig7OWtX6j1nctK/fCZqCdfF+BMFwen2ZDIuTbFKoHVRwBs2G6oPetatXHTiCH5tC2L837+3jVrlSJjMbsCKyyenLnwfeH7VNQSx9vyeBKtlA5aBCVOtPsI1a63/32jvKMmX7bmZtPrua+dcoYwU1qeDtbQrnzSnCLATLy1869uPzW70Gc/TE2oK5bsPwRXxpZZRhPrCySMYjNHdi1qqgcteIq5WhzbYbbDm787XXeSjbIr0fLboDiyv/iFN5a3vkDOCP8RkCttyEBikhjIAB9OYUg5fILv/Yx4pUlyUN+fkRcVeiQAYnbABp1aiRCxtQQN8c1xpGXjQWdk8OHtfDah6TQzox5LFuIsjUJJbQYiHr0tSsiL5mgeCKrC6oFCA3Q11VczieXBDQie98GT52PPG77aHVxywugqxbzUkfOvLZv5gTkdfOm44d2hzZ/YwdzaBn494PkRJA2ZT05IkUd2y6acCZ628jgq2qv477E56Ui9Uch1GJuBhLf14xFPX2sjqMujbFMiXsMefSdiCrPN7/X/qFLbD/RqDoucRq8ZDHnZL1ANquv8RY4n9vEq8cOD8Q83ET9x+B1foSMAosHzT9NSTZjBmZKJfuKYmWshGfJLHYtfSMQU1pyGmERC3YlEg0iOlYFMtX4vksIaSdSmlOETQvRiYXUucrjK0T6WCN2uRjwCWdMgr6dG5qQv+id1g4WkWWNLgpJ278Uba+yCe88ivcQljOzK2mmhiSz4mTLzm8Hp8hvkEp54BA9OE3foZHE6qUW7PzFNkTd8L84Pyg3+BM1pwCyMqtqnFVhGFqTOoxt7OFfEt/7pyYc/KFG2jDAtXgB9tL9pkXtbe1mOClZrP6715huu51To9AZ8PJL2fkSbpv+YvXNnjjMWOT2GFvXOUR0UsfIKxTotMl4DaHP+KRyP+OLhLCpoQbW1pZz7PuqP0xQ2sFg0miR9zIQ3GgEbgSjDme88HUY8gY/8rr9nzeow+Iguw//vSLUEdFRXgyaoTQmh9c9xI4ioIszivOJiLDUtxEbBgojCBH2O7zn/AHhM0U16U7GDHEzuPpdkRdQFFbRBuuu1h2VS+TwenjO7giOvvTvHT29aMG2BT+jerZFhvb9f2RwVee0aYgK/Vz9JOCxxOsECg01cvl2E0OYucjOkSZ3wCy6z57EINTfiC9HZHFr7SKmyU7XAGHRw0YrGZgC8dpzcX9Jbd8EDnexvbrySmOQ9N/0Xcv+G6oNbDYV+ewem7sFe0XMrzr8b6gK9P5UaQhmgn9t9ibKX67YEeIyW8UY8qFYl1wrtc/EkT44dR5eyqQxrxAz5gK3XfhEBD0lPcz67B4lk/Ljn5Qt69S+DfaVhvUrg6RvLa5p0b+1pTQAvCuIZ7TrfAUSiJXGDXvL5d/90LFfrA/Jd75XoLFhXr950EIB4s0rB8pYfzXlTVlWBRHCTp2dHU7gwpW8K65GMUglZn43zNRRDN1+Ug6Av2Sh0nkQgO42btMDFwidjCdXZm//aUo4CcqmpER5e1ofmdKhk0RvzR77YY9vbIScqif+1cKGMn1b29ehEs8Wb8DfcAwSJLhbcqBDJsKV2lv/u02OiMqnwgrpAysH0yIRKGWxNKCZpvFZMz2KU980hgQIaaiSlaRzZxLTBh+qtqhu+luNEx5OAIEAy/aO2YHinEGyNyxKs9u05OlsMt5OE1KDPKmfqT3uZKAoZcFxV8+TE4stWIqkIaEtP7M/AgioUrGH4/XjBDg26jT2tyeM6CYUO2tuND1ytgEfsYpIUOrwlJEQURR1vUJQZflWFCWjKnY5z5HlHF9nuzvP1Uo2Z+UATf8RpN/IoR+0jblmUreJ+uKWw/wLSP0hYJqDppsfL9kDILdxJidQNxtNIZCMiUDRSym/XYxaG015WzVPk9z2P3HA+HKxNzjB55NM0Neew8IUxhCC3MuxJSTREkqL0rC8xLLb+eXAldq0nsSbZr+YI9hZBvhXNif7sE6PHkYdlF1g/kNWtpbbp2pW9FL3VIgNhIzMjQoG7aVUnLGYevaxd5lgBB6PhBLpeN+55f5Nv7B26UieuOKkwgCMKiVjUX2HCqmaRzUkH9Nq38xqLjTMQGSmWPhligvApG38LMbXxn48cdue6vapP/XROTp6wV6bvI9mVIrNQrQUZ4uP+AwWpRiV3bPJFz52juSWtRFIG5KZyk7/6HsqzV82HonED7T13SCVXMiZaEOoKZmttjx/0d8NtxhhAmuvKFvd6o/jvmwQGjtu0JzkpIZfkd0xB75Ulka2YCJhnmDRHcUYtznilTYk+AwtoreAJKdQia+yTOYd44sK9IaY1ZbCnmN5utGIP9iCDQk9gnedxSW1akHz8ztBRQDHqoFEao3PMjGB+1HOUT7NQz/ErmIxdZRG3DkYkVe6EnOawnobG15rmQPjEy88bNvP9zyjwQp4dFfbcddFjVdWBlmSKvlTEnZFSN15KJLHkSkUT93Xyo5hMaNsjjTDG07bGUnwepHsdzi/gF/E9Ed/StTg9aopKqQSFLe/L9OsoeIBWZpQJvE32R2WH0Ly5bN/6Qje3CtpEFzijSboK0nE7APlVUzoXGLAGO0prXy9VZMtCyA9Nnkrs4PEdw1Z+JbBtWIoAnJkXfJksX8wzqLpCTzRPYjvstVkdSd/+NpZRSXzwCHoO62KoChviYxFCNdUM82T4cz3K1VPQE3Txt2HQ67Farp9FY30ja0Iu2/7pgctj6hYC5dJANxKVdGwDJtPNDUuj0y3L+EdXHcVFXGZxFgKVRhHbWKxHOV37QlOHCXU487JNl0c1UhaG31XAe4dnKT+rrc4uxJP3tZWOpBM5oM3+30BqCPZpm37adzqI+0SkxKY7cgF73BVPk9iQLIYRawpQZZxNWVH3eGJ/oDkjrQc9Bo48FyyFNrumILke17JA5Emqa+SHaFRjPt3b/ULVYnfb8KMaNlNkGOTnJHCFCUaa73z9RxgO8QBfbQf8MvWLpSsHsxQH/CqKw1IoCjkqZQ5kWTMnM5g2KdeJalb78/2lyKuaLBeQX5zBjHAo+QLU9crWAY2qkdRPDgtzUMnTyuuAWNkNul8UwKIGn7IWkwmRNEyk/go8mSqTge6k8+rC5Bk/R9qiopNQAfZzObTboCPzW94eoui7/jgZjlxxiaVqDRBU+1Y6cJ/76C+g4ZZ2U/U6uv05qlKGr/kOeczYM1PtN45bayXEoMcJOyYbXvHxHsVFwX/xOMlRGtC8LdXMGbandarYUyemeN7JculYHRXtmE/DwvFhb+0u6bwSKwxWX1ZlB7cpBgWDis2xwcS59DbCsLBWF37Z03p18C21UKZc/CZRq1ka1aGksCvQaxu4NMXGBhCkQAhf8cV3NvcM6EKPmBdNV8kZUoAEoRzcL8HMExSih63r0bD+h4SgDNotccu094UkftrlB9OTJZi23M84/C5Ev+DMV24bZGXd36thQ+1KB45PzNtQzqdIOrDY0fuXwFDk9gl4zdSVkyQvEj+JgqUPnTOGRQbiPlqR1uF3O07UVjvb9esVfe7PAIqGKCRmzOcsaVXdasQVGRHME49X8A+URQfLEOlHbRPfrkXnRqja5d3Nck1ZT/Gc6PZvOJbQZ1l+TOSnjdi669+J2D9H9eYxVHGmQfruVT4ktagzjB2ZrlkoNoAVkFzzWa64XpUZJfYAhyDG911YyW9UGbxeHo3TL4Vj3h4PshAtLlnLjBEMU+++leHsq1r8YkNr9yZ/WS180ZV4lKOXanAj10CWaqCkO3w5Aqo66xN5wOz0fxG2ClIAdOJZ4IMXK6Ev5VLVBG2/70smueM67972tT0Yc1dPeW4OdnmS6RvbdLhHACOJ6xAoiqkF/77QX+K9Fk0HwV6Phuy+D5icc133igsqpxxKJi3LvGjybcuarKM9Ula2nie7pbL6SMRqMbjj9EWRc2KzBb8D9p2z+xs4PrDccPSH69H+yjN6aZ+eVfQF4BXdGZ1SWN7A31EMLSlLQ4SgQBiaAVxude7T+9JDqHQv/CT1oWsW/Sr4/kKQTBhMwjqPGo4rudQU/R88F3N/njnMbSU/PYuAaZ0Gm5rD2t4WTcEKrYvCD9hqdBti/41d9og1E84JQE78W086by8kTsOhK/Htzl7FEwme4U/UveIl4+GAaZ37xs1w0rSfz5Lwrsw=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Cm9x2cjQpLS7YKbeEBw45E5ePiUfw89P/Q9iwX9+0QNgEkxA8/Q/RCkQgcGTDNL/43XKkNFXUr8hIFIaSTf+zKxec/viiTmWKoSzKf5j0aF2OGChu6vMnp4oAu1RVMI/aAyod8gO/3pjSJGdfmuru6iLAYvwYmNYP47mZtHg/zOJvLZViWjP57yQpxSy2iDQ9BQs4AT4K1+Ko8Xav3gBWwsENdvBrPe6SGK/HNtuEQzWIin3sZeFEWEm1n2AAiZHoW3t3YwPg0xuqpUsCd3mPxLp79R01O4m2cr7NFhKaurqmOveUSc96guyeOOS3uGgy+BT7zRiH2nqOvNOeao/t0VX4WBqeqw+eUB5Bef/Rj8fW2nG8jufm68atWLVDSUtQDDl7zFJEZlJIgRx2/FOdkg1OFZ2wTy3gCtQFdq3c+g2C+AIwRyrLoutRGwqRmWfIuYwVd4XNUzSop0rURzLXtb7Nvq4DqNUaCRlpVGT+BHSuQiRmWxcHlqQBWexr1EYyYYXLlWXdYvjN8Li5QHNWbctOltBq80QYXSc97OnJfdS85OWENPY7/O1EQNkTzGUWDKDIrmt4XyUg0z/ROo7wwi8mcRdcvthro7w0/BXAoWm9T0wQb6gVBZ45iMaUGPxOMl9kqzI3Pssy4lBDMWrVZcN9d38HlHBM1PM08SVg/zT8Ecnc39oTEzn9GVI67MQzW9y6F4/tC6ZX/NrhPkMGTFB+ssyBoylWcbWwG+f/GhvUUzVo8sgjimEzxZIx5acD1Z6sCj0DhLkdi4Q2hEdzR6gmUmlZ9PmLfrQ44Vd8dMAxWLPPnzDRdBcUs+HQEoNArHcOURZL1RR/NneMTJ85kmm3Vgr4xCw20xfz4zqKZy/IYBNi5pR13pQ+ENJm3U8aYssQU5Wvh1rOnzXEPb6dGgD68QKGu74VRLiUUms+MiCVUlY6zxl6yjx6cIGiFT1smZVU1T0FjRMLtwSzC8u9kW1JQHnEzX8LwpIxvsTk+E4HFodTtaglc8BlYoRLtDreD6Vvv0HKW6pf3S0T65K3Ewh1rCveasw79eFdNt2aSVLA+y9zzKQdyw2QdZ+p9DgbWshv10CF3vMUNPAMOcXcjr8H5xiveXPbgJA3cpNURDuj4XGXQFDu28FxkrKlIFh7jplw6iyr90f0Ab8YEMJiaxfH/Q6sYAbNTkww3cDn1ovgFMAaLs1oQfN2EjDNPizA/AJCxvo7SU6muxCrqVHBtyv5t3ELXjVKoYBFnoFuytwmEgqhbSNRYMYreSdWUzqZub1p/O00Dpb7ddhAGs9CiMZoF21Lfegg6vlek5gT/m1oDDs9D9HB/lnKF4YVihjBbivrozwhht/oM/5tii4i8xagX3WnfBxhzFpeF+DwWoC8UXsx3MPT5PDun1yukB6MxUHXQhbuPwtbM/FnDqc59kB5002g1iQceFJ8tXiE84V6c4yu9J1qu6BbllUTG6/rZ0ReZu66DYseRAC4YfyKTxmKuhnB1/zc76zpnc/gS/6J0Bl+Js8o1+YIOMK3LpB3oil4ZI4kNV6ouC5NiUutjW6ci9ZNUmWcqUVpzEl/ow2b2Vk8pDV09T2vyUNBysyr3TDV6LhK9a2KgJ0RPbWcGV9pPU5QISuFxSAgtE4HG2kRySYZuLW48y4e5/XZM711fyEB/yJgs9FXZvrn+DCv3zNqsmSNEA9seg7KK+PWALB9vFKUWY5hRYMDAqR3rIbVd0LZL7Myg3teb7DNtUX7cc4eZ7eh9UPaGF35UjXpgch4mqMx2MLl6051dRabUuRWw/T7aMaWgU1ngy3oa28cryAeejtQlOUHBhchMUB1A4YkInhCTph45vjfediGZ8biAmT0Tawl41+ZjWze2eXO6ohFYWPIRwNXmZH5aPrFGLlSxymt/ptpQRWz+VQ1cIgxJ9h3MSjoOeECgCuJfUIaG9jngcnVRI7dMOU8IvZJD/axys7S0N4xTvrlVaSTosNw6cA5N0B2KJ5oOC9iZYz3kjPzqaOAxDVZU2jYq87OUKz8VqF33S38yoDWZ+7b40j+24GpeE7SlXmcLiBUBO/CENV937Xjg2RG7xYiTjkTepbtqA6VMGRCB79dmAIEX4vFa8sy8x4gJ+RWHm/NLEU7DtFqLpeEh7Pg5RCxsco2zaDCFq5lYacqEpn1QcRTeGjhbk2hgZNDMD/hzUmN1e5g/JziEKIUhN1ApPrhieM4xMVdPjNLTrVQm/FJOqnyjr6gElPUeCFt0lpmTuFVjQWN0N6+xW8CQkWFjUo2REKsdMac+5FyPtRS9aYtQvg09hKAjzEaHqJN5gsOLaqQL7gPpTUFkPHJM/iDCjlhusftLDh3js09bhPHWCVR+ZPqAAxthq1rFLQZ/LLVi77A2BcvOigLYCsszIqu32SQkYnztXHr4MBpgew0cpr6zSL4Pk4JL65bX+qaA1bMF684qDJY+QkeMLUzRWEW3mTI+CAMcHvrZ/ODAKlvxeYynwOuIYskgd8zkKkbXVjnAqFG271wwx4dUACFDwmbW3aWpGQAfkM4G9P/fhveYD0n2wiPIMGY4fYPyiomDDgOCexwjc+Vn152LeyAY2ImX98XXtOB7+1u4KMC9f/bNujbN8Qrhb1jOSZUgUYzBmSpPyv6fGHGHG4WXs17P35BoQj/yzAfXu8SVQh6SAfr+c1ReJQfBvq6BZu7O2OoJ28ApsiDjxWtM6KVfejJNIhB7eriHOWwlZs2JGbrRDmBFLepjYAgiumVTL3JPPENqhWE6pNFzJ7f6sThVlpYK8vOKOvnnX2QO/K9sSQWMN+QTMLgTKItwbeayxOi16PhEfi8pbT8u9rLzTtYDOebF8e/fEra9pzuVp3ACNudqdqbgKHTCYjqLCi0LFyVdwMut2LkO/J1re+XH+rTemMy46tponqIKLkYbJQaGjXInp1GbFmueENEwPKqTNiXmFSjYLqgiU4xZFdfepRK6d/XMiDRgus+wzYFboELyeoBH1dByMyJSxzzmNjEoRatBeLt0RrmFzRQZoxyVzd4CgMVa0x2h6OUFtt5vDc85R5+X6Yv91Mr92pnCKNKT30Y5+gHnZwSJMn4eM1tOZ9/0UzBnD7kexJrKT4DZEg3QAXRLdwfAZzh6z7dv9IvEiTxGIDzaEm0qol7lBJ+Ag0G/yBdQQaMxzltCrOkUn+XEqborB3hG+rMaRj9AQtP6euxkK8OdZ2qvcSGZfeVqHLbFoxRzuiePEKLIwEwAaKEVHJazYE3sWuL6fiQUhkRdTkXdysP+3WpEcmrU8gGVxaQU6QR033BIZUKo+PYpRrGiM53zI9RtAFhmgTl9vV+iadWNY2xH2KyClDkL923zba+2TGmUJEAgyil8q1JgsBnKZVvZrKxb+wXcVqEHF2WgLVoDChbU+qopwmb4tXdul/nhEo/jfjigLNwifyO/BXNa3rGxJdGXhYtRknUjZrjdu7elE1PocGT8ed3dz6vX4Zazg6aHhWMMPTgw0/2vTX2kMUomQ6AfvYiXhHw8p5KpgS66Mv5th/wmpQx7AB4wlOsN/Us1hjKedAavVbnNOl4m7QtCDv1lpzNshRvqLiiysbh1ZQFyoowACJ3YRImfTEPtKOgrPins7XerdcoosoRLJ788UWCLPFpKuCWFeGK8nuG9LS/zOWXNSGHcKFyiDuN2DgkTG1DmNtTE/Ilu+aqZbN7lX5uULBBUPb+0FwFgtHkxTZ/BaKugciox5PN10oSniHAc2UYrnq6rdKL/BNdZ4EuHuAiTbGa1uWk+Q1uYLwK4qE6iYWm4WGX6l7vl30MQn673besRmOE4lriVFwt2J7HVB4sDlqcRgc7VRtff7PjYBtA+extm+Ji/KY5CMUpKh7A+89RcO7GkX5cjlVFUJY7a3nPPGYfMLcyjPMyesFoo3QnIDsWQPEAXAua8J9RWl4Xy5c/RqF1MMg2HV72KXYyQVIUc4owy3UsSlr7dW+Rsr/S92qVKRmP+Zuo3xLeBBSPRroaEMXR1Ks2tw5pGE+Bi4eYrpFVoqdFDs17KuiXq7+c8Uk5oQfDzcaKIEknnmtix78YZQyjrW295K9rrruFbXHYtBFO9kNulIjiT53PPEkr5hFk6yXCqINoNwr9nw201cNcgjQll4nM2ZpNFbaAgKjXRN2lOJXOQTxZkHjYzAH7z9JvYRCFkp1t4IcjxCxY6WDwDVHBCi3SnE50dhT3hsk8f/19ZqTQRi4TL6Gmn+m7jmhPZREk/ucB2eEQhEC6wP0bDmhi0lA6/yvh7rv01haE+n1/ppYeRO4sf7hontSv73CZ1sQkA88CBm2tATHbRSQOOOFYFyr5rj1GPqzEkzTEnIME14Tf9GKqzbhvO//TD73Q5PkRkj8wolCiE8AkAWLSFl2RiF7GjLeE5JyNE8USEPw5mfOER1Yj6IPJGA7F7Qx8NeCqKJWgJtkmhGkGgsBDNWZlansR1dxCbDByXBgJjR3MvhUeReLfdSS66xVZgN66O3r+wr1jU7JJHaxgl9PYzkihd5RZY1XnXqcWhgjd/r+ObejZ7slJHkPfcMLVYkXoCdkAn0ZhvpZYU8AJBguN+vAS9Jlc7uh8T/wvjHIKr50GxadFg/ZEmQya8f1+AKZBVR8OBs4cXRHy/WwQAtpC+GP9JrhYQGOmwcQmS9hKc7k/NEloh1HGbplHrwaUjxY/i1QAaZqDMXQsYAcxoUHQik4n8GLSaUfZ/SV6e4gJFG3gSJa77D3/qvEMMKHosNghnR1PHPIdZ63i41anwbae1905I28NoG1LGfJVtjwDQvlCW/Gi2HeRmrfChYv5bpnqs0BoBaorTXMxIUSC1tXm6Ekvs4UKw7dskrPXPV//4EgsmOIamuOFl1rIqI+Jc/k67PCBJY9HrB49duWoax6YJ0pyhS6s7JLRjwkr/27sTUZkEHVaduQAyAhZc3MaNQrVm12uj5d7++dstZue28juIXM6lIdBZXR1LX+HtAYDJ5HvlMD6oKo2xboHLoQ+2o/oR56grVuk6Dd7rnI1EX8e2d9h+cSwMPi/9DLPFyofGGp6Ktdpv38+syjMG2VqqGo1E044/3ky3V4dizxEDYIGSC7cwq0UddfV3kk4tEuNyNnsM8KFN1F5ZAdy1ivbmU9OjvaYWZ3hhDkU7LPzLwM1TwJjMnAYnCPJKTpskoopPnVvrX8+riKK/hlGt5lB04hdZ2iU7Rly0+k1Pg4JLYIEFuks1eRw3GTXs8aS3QM9gTFWDlD8GusKl/DFFNLlRFzcR/IEb0sDnPF3F76cVNlqF8gwjKalOoua1+4gbSA50QVwE/itU0jPvpGdP5TMeKYww1OomT0zMSwlIu9LE4WH1udh/G+lykvTrP8uknFQpgFHrt/Mp3PpD9oIEMF8G792BXOVeQqY8foV1x3AxSEgqfNzymItDt7Ui5hsbtlMLCwTYfM612tkvUUaatqvtXrpLRRaHAwOHCrI9Ea2ZKMd8sHLY4+bzY2+VSkuMyyq2vLo3JJ9Kw9DwwwoVARUipi7J5stuvA98088Yk3R76ed/U/WF4L/Js6m4n6u7vG2aoD9CtL7Pq6jk0ZYmwF+i7D3bBNxkhWleQrSDikwWtFaDqpM2/2WwAJUQn8UUdSwTK2cpY48P9X5Q71UKf7hwXXGz2IW0vs1YlElzwRk3K8B8S57twUHQ7STjwq0qGBmsq0J5dlI2k+YwqI3JKbtPq1Qm0NScasx42jXHcJVcF7yJNVDJwk3o/hoBS0vZ4jaKDz3HOkANxtE2gCET+25D1H56USjwkBR0Q/7UKjBSxE8IYBG0y1Y5L2Vq74bDp2bbDHLHoINYfjDBconxBOfV6bAc+Raobb7j1hgq5aj39WoJcq3BCrJ0r1/c1lzNh5wFJJsoFsXf02xZTs9gE9JhedicPDGTJqqj70I8/WVwY4W5RNkXNUBQmGt3Flvk1XAGdBIAfkF4c5E1gDquh6eAsA5F6ySn+YLi7ParFN6bahDEho0WdP5svm0LZJPehPpytHvBseoSEOabFFwZwZuk0mKn3uFUM1taffIZ3MdjbmG+yxW9joNufrO4FDBZ+Rbaua5iJLhWVevPZFzBHwJ5IRAoAw+FqVBLp2KAGLALuHFCBahWm3AKT0bc/9u9eHMjFfvKFbtfFZFkBfdeVU8shaC+U9A31VAK9wkiZmjx6ErcuEs7tzZnVywgVuER/3OfmxSB524OmIwxWsPkiAYooFDzhCthqOgqntChxzkgvJNpXJv4q56EeMUOqR1Qz2LX20dDcOv4uqQMR4s9yazWgtNXW11p78TySS06QOTcntIJSifk8SYuAWyD0ySx5er6Sn8EK0JQ42IgYXhqp6voUL70L9ov4FXLF50XI9xDZ6wwOtDb4LGbwHNcE57aSVD3kOlGkeEob0zS6zIWWXrKWdbac9T6Dxg/xrzdxVSmer118V4oqWVCM/lwMl2/+aWdOXQoCZw/hhzkLH5STrequC3//q8Z9GovumNv5v/wxooEDQbE8wnp5226Py2R8cxbzXgI0l1WKqZxYWXhlQmNQGz8vUR2a0VulHBrRdf+NcK7NhNycHDO+OKOExHJ40kDXHUd9URzTVi1aCfVuzOjxnEca1LjrKk2RdCYwQFDt2QiDD5XxoYlMycMeiXKFz8uPHdwZEjJlrJrSn9VnY8G1GRRzZocGTp/VMlAs7or7qpC6H3Y43gZVVelCourzCHH8UbtnsSuOna8hnANP+Y3fxMGIloX4AUoWaTKfgMwu8D+staG+ivF/W5nqJ4UddgUAhb/fxpNG07MYGeCKiKXfbw0sA6uweLh6KcDS3pmM4TkZiYh18odIuZzAK6eUpxyucQBYj83b6L6au7ej6bvSCo0PPXgIloqpjXfMxb518QlFarqadNkE4S7OXPYZSRpeP8/s0cH4pfiGyo3LCnIdthXrUNd858lnF1j9kZyJjn7ftPePeOi837UpVIIVY/r0DdZgdt6CEBDlOo2bbuRGFDItmL9827jUpPjqiVB+eoaigIMllLWfiY1+Amsf1lek99leW9t8g6Za1CkxJHEw4Cob0EDVn+T9oLiEoLrEZE0DCkUMPreGRZU66H7LwrVyuyQv7zl+L16S7cRnSt7fWgtpW4tdaHPyeAdl2eEiqAVUwE2hVkfApHRSsU9l8kXIKkGLK3ut3S83zkWl+BcAui0IQpruKBIJFeAngngX6la/2aga9MJIAcrr+5snk1w3qVrQ3a/h19CuDHGQGRDxhfEBz6ZHBK19NZEoJpxQbDNkVVq4iFGvKsXXYzCeS6vE4ufsFK7GGxSWk3zHJ6cQnXwUT99ZyyFX4HoOdsXIcnMp+YEfXHhyU4Q/CpqxnqWXu3rhkp58/KfLozNq+uAoDhpImADncWTl++2CgyheN+pAznO0Yu0dr4GUUZoPyT1pU19botrye0d98vNWiA8/ARTtMnMhvbYK2Nw9FtGlH2WgwkTUPXnfM/BOKBLE+6yfBLZvxkipwQutH+dD2iC49I+dFtruAJ2hboco1S6zFY+xiKNWvzHvblLzSk2dFhDO6Xi5GtPScs9dexrZ+/unrOcwupQ2HbXfotvEhYsRnny8jVdLI1cx8kazin7aQd7X/x2XRVQUwXymazx7SZ/1w0LZk+oQrBjoELYjcrl1E6vHwP2bh2yQ2E6iATmI0n70oiTq7lQ8D7m/f7e26RLnhhAJ+U6W/jdIQ2mrXaAVZZpKbXGOdZUX+oWq/Rd/u+fi8ffRMPTSe9k4o3NIh608pzVclKF5l3/6IPjllYSf5KRCdyOCE/lpxNbBKUse/u+weXZI/hmjdEzu1lpJgpRuFUpICR6qkPRqwMKbzYKqwdxroCBV5bUzehGXjYMJn4L5+3MAMRv5F/e9NFoxKzttebk3RVUrh8KEvPsQmb4eHk/AnsPnMwkhuOuq0kUnno33tZ3tUlb5JMAY6adgfBwwJD3MXsV+JUCLuK+msNBbXOM+MTQe5+B9tukYFV7xe0k47AWuKXe10fs5A8luMF7VK1hJtf9+I79Cs71kZSpzGQGeH8/N0Z7QfbrzJ4whbGvuOdWnyrfK1G95WQjvalJ5OmFYahYtsKhqnxEBdZWIWJYmD9YS7StrOEPlKQIcWDwr6mDDLWYFgpbvn0ERBZhP6FhWGZi+fQBWF+oQVZhqMLEo+R89rBBBAjr+f/cbefAOdFjQwSE1OdOBlfbIZ1m1u16BFtXwcfHyDKEXRxJuEXPl2YAju/njn4a6a48uN3Tm/aU4NthxArMCAOw09Rwy3NagwQ/l/zZE6kv7T1Tm3xtRiAI8pYEquJ37HdijNq4ph4oPJaiOtHYy90jZoyet+09R9GWOj0r0FQGiDsaS6a4iDqSqig+EGXu+CX7wU5Q6CmEPHGvuPdg1r0bEcNnHG/Kge87Vfw8HIeK5VEX5cW4xVO4ohmK6hXvc14C62JTKefc6JSrJY/6NYrLWwivN14k9OcsOiKx8vzGyrjq3VwUu3mWLm4spJ5WybzaWVDCj/cN7u/3fVmEKeaRnMVBescwAdfIs6yl5TkhHp5aoE2dhRQOKZ4sqhU9BIyF9DqZxODa21JegyDolQrvzAD2jXxXje+XxFJOo6DY9X9/RPEfaDjfQyjZoCum66Q1guJiIT5qP1AVygMtNJ/qwtwFPaBHPOEjjOo8+yhe/NGbBCf0XQVfTliq9vs6qactKaTYnRr5ek+Oalpok35AaBWU5gZ3w0+ld1BFruXaCzDRo4sPz/6/TbEIdbmzMruhELsqPKgkMEePJwWnIhMsqrtUsV1mo3K5Cez9zKKjpibBG/YCNGbdnofQdqqeudvIIO8IBmt433mpReqZGJ2PVsoxUNwlf8tbvOC+29GvD59gWMtELf4sWMp4lWSu/ALC/9vdtbcjVEasncfULJTxtWB97mvfP5pK1KECCwOk4lsvoNVKtHnmZ6jm6b7s87cJ831IE/+1xnRs3yTk404lkU01S8DgDo7tMbHdz5j+0Vwp+rY34MdentFIobOZKb6y2srlZISMsSR8ktbFWyZ0dSfoqIDNKFjNlxrMWzLRgB8bT/1Bfk1yGyOWTFsFDKXv+zIHpNacDGixXf495UcTUj7MyI9FjNLwhvwfQSDLhTDRt1GOC95p4VSI9M2NqXx994k6TXSYMGCECCzcKzLeAiu9zmDP+EVyqn1HuwXS584VLne3uXLMglM1Mp36Q0JocIhTavkkSmsT2pyA5v7qEHiau6dlnpQ8Ng/7x68dapEYo+Yaq0Azd9m/WL4MvNDX29qi7u4HJcGvleJgw8AZgw2lkoHdDpnFZc+4jXbUgDBY8Ru3WFirIdej5/Lboe4e5rsKPL0k+Sxzpx0EhiDe79SJIlxD4TXBCvWpYKLJV+vZMgzr6X0ZRFRreHGAFL0x7umskSBBQ+Ox8vLrfO4Uinf4ggrzWtQItL/74aaUKwdpbUBCA+Y5IR3rUulgRUr9eOQbQ73ave+neXvSLm+LtHDU0wMCd05OXTqmaVhcAtPUlQaodNjn9bOVVAxGilTtBEXKUdxJaNoY+tiBdeqq4NA59tFSNuxPzFVSH7purANBio5RTN2TZZuY3JfXtPBNkvOGQqOMkNcVRQSqEVf4l5WfIStySA718L33UzpQQ8Ey9CafjFGl/QUNzrZgeh1E4U5erFVWubl/0qOfvOJkP2utCQ6MLDPYTcbluk3d0XzqS6paIksO1ivYSUTpTnBWLU8MKBJywRU+hAdaHvqs2z7vxNVOxR19u1kkJFsBdJwTTqPo/cCxG8aFBCKz3+cKgcF2Ju7X06YIkd2QCxdmWBBXHqqCQQoLh0EAnQjw//ndBOxtTHdTvfiXOUyjbe0rK3XeBPZYq53M02S7OnvUNxdMSx0S1t6w+xxEjdNk+Sx6nVvrG5dU2kJZ3ZyY4VBwRTYMlfFDTJL71r6q0CET4aLOeqY23Wy8C6xkl4idbH2DUKTfW7jPGGUo7TZHH0WtNM/8X33ua/9Y5Tu6mrrnWfgXV2VL/8BM9QkW3f5yDlb4715bWTA6M/zCneVEXeuiRhBbR3XH0rEOb9xvbrLziL+W1j/vf1+ZKbL0qSKSmUUEFlJ1jc+UOPpJVyNXC+EZ7UVlqVMEj507jxE/LzXw0qboGyIMMTVT47hkmMuvK78TjkimOGgliXw6m+qArkvrwgdC2uwuC71CK7RMMzGKRCavIi/WytEwJgigWVTkoXQIqC7IyECMNbFWbAL2tVniWRsI+NGKzXz6LU0h3bB81yF9gkxkFmT1cUF5fE73aQnl/EPvMF0sv0GkNRbhJNXdMZHCGfa6kfO1zvuMS8nd5ZfxX5mjQBinWEV7xgtrfehJXOae00KT6joX6NsOoEmpWYLsd/kep4WuIzUmOyJq5yUAE3v0MLs/onn6SLeSQOlgsXxg5vWGgUMYgldXoK/m1+bqwIRhmQ3/0X2y/SfAeII0poAUqZrKVTLsg6R9XaoiQyDMT8yR4O5dFSCxjk3CzK/3PJDSgi8afxeO7HvinTzIhKgPsY0+3ALgObkzDAVkj7Eptd77cUxNXAlEmVyTEHENRxYuYad1teo+sUdfTJsIZ148Knup6+9oEp/hHhVP7YIvlAPA1dyxnTg5B6CNYDiehMWwbcWBEJNHAf6i65LEwztSRfjKwTYPyTBlHRaEfPImKE3ogxeXcgYr/job82cCl0RSytcBk/JOpa0js8wfgqsz1tgJHxo75EZqWnQ6lbkAWsRkq6SYxiF+ZXChF2zPn72QVqlb8WWzF0S9C4EzmtOOBIZD7BfcfPgMtSs3LfSo3VFHsP52VN0jjzz+L02DJpr7Lxr5qrO6fzhVMC1Un2LC7Jhi/2ot0sN9TD6FnKQX3CpfycE49DudpcbUNBu6IhLNAmFFOdjXSlW8niQQHpVAirE1I3IvMdhA7Y2ncjMCq2PzLx2Mkao4zaloKPHPibVCDWKLf518LoOtWnwhzpDWDiX/5VS6Gcp0CAHp5z3G00l3akVFpmBy2hK+z14JNZIbc418XXjRchM+ES2AfldoRBGcE+2HFHzGf0ooxn/mfCMDgLmCg4J+0j8uMS6sF5L1k9mlimVgtdVyH3QfxbCrmfoNFF3eF5fKe3Ae0k0Kl7gL0hoq27c4ItNZABFYxExjXrMkr61+L1seF4C8k5Hd0yBY1fJE25c5gj5hvcSluBqSMyWLw0ynixHayjbhHHd1r0Rb8Rlf82EsFKi0xYDii/gDwFjWNAs1zHIw0S3CKsmOSydjqkCVftnISndNeLtEtw3QB6zlC6DrOrUT7GMI+TeHk9U2/wfoMfixI9c8HttmUcpBO23w/uif5lFkQcLIkWNia3q/O1x+/ALndqG60rC9WIn0LkHMzFQCDmGJ+43KdVl02s2O4RxxvQmalitgysBR7dyoP43fprc0c12/tz4NofSmthcvH4T0XCe6Lri4bITumNPJrK8uohWCLwshE/2lEDY0S5Dsj/pTVtk07HyNS8fB3IK8wFMf4ZgaaVrB7ZiR2939rIF19Z8npjyvOqzxaGsnxVvXVKVlrlo5X06k0837KPQwvtT7ZXGTlFD6MJR9KjRFPxTyQO0M20zpvtx6HwSqtngQX+i8RwLkLs6kuC+LW+7NfFEm/McZsAoCvPxsHl+nUi+5/45HNExhYF+iO1/BcL/q/4ZRwdftI2M4LxQql58WYVI7qJBWPKAbVmqQMZhcZeR12JwkuNX+WYIW0XV9IzRBQFU5XoLdYF60oIcRI5Rg9KHaVYGkdzKEZSyvVUpbOO4Wi1XTODyX8s+xG+CEdtw2nO7E6K5+Xz8+p6UiNoviepegY9iV6kJPJJwIWvMSrykReHHqwmmDr86AB70tcToAPUs644SsIEmHyULci/lY6jU1qY/00mAnmJ88/1+AvzPjt/7e4mDHPVJoR+iHOpz3RcYrineKT34XNsfSZbdz7s/h2ETaYmM9OC16mscHalmT22XBJBlKHmPMQ70n6yyA5NVvLF6p9uakpbFURO/Ck5V2CdoToRjcs1j+AYXhQXjt8Q1BnpWgzsExaY5eoACGWW+EeireKj/88rgoq2KejYPMHJE1aBvtvT5Q4H5/ZujgxjXcDY7PhvU6eRRm7/m0Ay4+HVQ4foR9T+3lA9Juj+x2foe0RWyDtGkXZ0AkE26rKYaw474THBrw0A0TgWJhNkrgB49d4WkgPCAQWe6YnEX6ksb8e4wbSBKDnsMEzJcFR9dW22PDlWFssR60z1tMhC+T0b580BNQZrS8wXrvEjiCC6Zv4Y4c1BBu1aX/Hzacpi6Ij44l+L9ZB/4Aos1baLXXnG+LW+YT+ji9Y9LowYPHsOgG+waJ12jrxTdy5XTKw4nVNdpU0HjYbo5GhAQ1b7MR6Od9KSjOCCGhNkFUxcyrUMXVqKTj1jOwHa/7tIvW//JEWYGjXreTruzFfaVF2q3grKJSoEVaOhVkWiB55Tp25LEHl1bc/SHsXMt1iLL/5bGc4VnL55w/ZxYlnExOmB10Di/RhFgjSDgGMvbkifBEsiDQwPSwFr0vihomZGnKiMDmqm0lz1ashR/+Ap3+A/cijJk6OMPLg1mCil2hVw6r0ruNpPKIXZKJIVCkrgK9reWU79m0OIrDZ5/b+UX/j2AnAfzZmpqq3Wt7WuvC5l2sTjbthmqQTAumqjQxXy8olBeub8AD7WEPpeCrIhZo8DdSo/JL2EPTczzvusEunNY3XFeRTbtCxN7Ml9IK6Ke06WPpxlhC9KLELE60AW08RLUyzo2mb4YJP6oGcQ+XwEj4x7grZwOg106CRKxddIDSjVyLYpjzdT6U/pZOu+Um3ikkv/QogLuTV70NisWuGWrS0SVmCpqKQBEjnkzwrnCXXgSad7fP+wB4ZKjaAfqRANAlAQLj6n975IILBs0ml7ccbXHZ8ekBVxiOZ4HXa73qRJXcEGfpG/6K/GqjfonyausAgojfM9iE+MW3dIzuRwSpdvcAFEshqbhRDV47PA1WtIZf3Z52nvTOWSGlLyrFM71xRh5FqhU4XJMoC/Rz2C6lArzKFHdpg6mH61Ga5JwLhqBmAIijZvECE7t3OTpwCc2NgPJUo8ycxqeyMuB/5zKQJs6c9rnWmYveRmax4Gv0QBnRtGpdZbRcL/dJNHnCIHoTcM2yt0Qz/+zW11HYFMbtGd0RbUGIw42SKvYRNtcPfhSBtkZVGHWQOB15mAdaHC2n3ehZ7mHjkjVE7nbpGSjv6DgbgQfRBoFjkqvt6Ge1qVksBBnNB2oO2AKGVr1kx0lwUGzUnEsVeVEZxm98tXKDQ+jWm+eyyY11W98/UoXTGZkPfJIzKCIiZdCu+el/TpW+Gg+0s+SbnnMuyqYNcD6zQ79dXe3LER+FRmmoAKZrQ0FzHMZDHgcTqSEkhK1HQVSoKlL2ddDZmSeo4b6DyMaNqWNAAHamzdGF8y1/e99cPSvNB+oTtu5cpKG6Mf6MxNLFzy6BKWaIXrD3LUGOvltpQuQ+734g2dETO8ILZBoR7t2f5et8re9YxIZ5ONCIB1T3DDPM7ZrlPir4+FwjnNFBFwVPy3r1vqisA4QZ02HUga4l5HXRpu58xGHbvDVBk3ndrNd5mH8xXuMVEZtvQSv+MtoJNyxEcm4H36w/dM43ceLMnu2Q+t5ix1Jb9sFekpHRdERvCQcfOMbmoaMKbvMIG4KFMy0e5zU1vWeevaZ5K3Kzaz2zU9AZGYiWgvQcHqO2MmgfF2DabXKbeSkJedK2j9ZClKKPw4X9zj5gMs7Nd6/jLz1WDQ4A/Y0pHJQ3ujpUbnLBuPv/lZQfKPqJhcFfJVxA1cgpXQOe0bz0M4QuawDTq0WOv0Eirla5WT6mF4ot5lOek1k/scgji7Nbk8fhxjHgGsQU39gtHb0I7sjbXtEpp9VAZ7+RKMtne2ZnzeEOLLaorsZ26sZa9EAMb00m+OcjaFUyAkWA8MCIxiwdDfnadHgvCXT1CF4DiRt99Zr2mCTmUYbSs8yN5t94HpSbk2pIYgL1wqupqv7IgAP6w2v3g4o545mFAZ/+fQAmYI7IDdAjg6ik+Zwmc+qltkkApOmlNQ0rYIi4JQVF0pC9jvzoZxYghbkgbMbDzaOO1wLApD7xKQ5VIZ1pURXdleE+BaQi/cMedenPaBL4TvLa5H1fSgR8W9NGU86eUWRP0+HjAUhRJfUJ4ja8+hyru4baBEjJN3q/K4A8XiTLST+TMdmTni50x/AT4n3pqKnvB2iBnHL9bVTq2YT7o9NLgxw33l3sKvsFXTruK5uUd2MAVM4jqUWzIu75LhucoHnWrI4Z57sccdAvRZ/Ca6AMuch8kzhgYYM6Dx9v7cSgLtIfG/LW0n2qMEsrm2W2hJTmKuLBHn/6AemzngcfifFPkamXZ0Pev6+mcXV5r6DOQGiqjpNL8m1/eQ+X92NwFVwT0VxITIYi8tM8zXTxUEcRvb4oXa3nOCH4TgHEQmfXQnUMfCmx6+/Es7q9Mn+mWNbvF6r3hA5T+JAbWo80B7A22vA2qroOyrer/3a+N67y31O2uAQR8tYw4An0QcIgQaHcHB9y6dBeoWK6HQSvs5F7ijl3JMi+OZ4TPo1w9eOl7Ndq9UUGmbDeNLZIWNY5w72VRTMAmUkD4k/e9LcFvHrsU0SB7dpjtNhfY9tCKr+UJlsEQRC7RG7I+iTufJ1H2d2MlB2Iru7+YhrxCKkCEuoHAOWmk1+lR2u0qItEllbNIX/nRpR/xHCkS4EFN2FgMH5pq/6sAFPfw4M8VQCg5s1ZMBbEDkVP27x+yLXDhFRDx7hSLLcdeJU0ykuJbtmBoIQFpffuDt6rt+06eWlTnWt65embyGTceeC4BS7GnDICVsSAEjCqxh6sWLrIx39QsZtbEh7aeny+SN7SMmuRqiz+h/X0TGxO7GHmZAHfzLfXkfuUffp7i7jSH2biNvkqWA78yVsTlIAlNWygYmPIwEdpIhjsk2DC4DqUjYUx4kvTkyRl5I9WFBCHnnNtMFHKGT83KCMSki395Qqt/icCCdEhKX2G6dR+dOgiAu5vyB7KswXxDoiLNdvu/e6F1oD2oU6bODOUcYys3TIDxli0NtAJ3xmJtOpV78b8iWSQa3VE9s6liqtjwjtE36lYkLojcZsKyeBGRBSMc/b59ZZNZkyqr3LH0MawvpGCuEjdxoyr/a9P9g2hFaLZFZyUOJucnemuGPPtgjpVXqcvC3JDsmMkf4nMmMtklv5/GDkpIImoaMuGl25PFpCD73VtjIv9PY+VMPqhRo63d1bRVG0rWgDyr/7KfxGmQvPCZWAHdQJzUFKH2xj5q8FDrb2JZppiyhpys4bUSBMGiP5qgb/hHdQ36i6n1F6bFQis5pd/tCjH4pA8SudBgZGwmL9o/0VSW5D3xzDpmNHe3jsgC/i95u1jnb03dc88NM05Sr2hL/3PHEIN9QHM4Upr2ld8g9n7MyyT7/BT+p7xYyCiAwyA1k5Z/uhPzAdbh1nlQGmbyTfav2C/5kD/sV7sYcaat+2YlyEyRZbFlrc2xUghzVX8YnpOOWp74eRTdpm7ekpEx/njhDXiE6MWAgRTrorJreaoqJ/oPaVgvjlfxW7if3BK2MJboX16TmbJ4ePC76wpREJcgLkGUl2GDB7XtewRinkCW8CV4JZdJgzufUNkbyYwDu6LkgGMWYcvb8YDuXlD2nIm250we7lryOv7q/c7D27QZnSdiKnVvQZkZ2Cqr4vUHmKRWP5zfhW5fdIHC5dxX6zQIMjfuShr4yuha6GQY5B3gvgBwJeuwcQ7QNAM80FlhcPlId9mFuYfsAedNoGwixnrsZeaP5XMMY5yHNzzVDN+t7sAbEYK0IqgNGhefkVWsBWyESVPYrB1v9fYB+OTo8pIESejszjh2OrkJtBwAlYkkPCJVQall36pPUCmlcu1u974ZvVj4RnOE3KKQh5JRzDUaZR6f6RBTTmtMz6NxodHZUdBNSWGCgMOngYjvm3qJImiidgiTsoUO5Po1HYwQE5d0bjXmZITfgC/eY5Pu4+rHTIg76X/F3Nfox6XefJa5NGDdvpQCTRHF0x7i71WkmRgiSEa9gQest/xsdBJQHdM/bbFvl5EzyX5X7G55KQd9/sX5VP2Pqz64EDhFgUXZz8PZFZ+ZHi+TjfOqjobZ4JbXz8ad4BEvcrbqf42AKEpH+0EHwk/YidySFk/cp4Fo1FxRVxHm1B9lIxikRX1JVnuIH8hvwNTM9KhEm5K0dsUJOFm2m06wCpP5aJ1tJIPNpU2fCSgKv9AFpJWUPHi/jekudUbRZzJ6ogOMmhhazZbaX1IkKTdST6gHmnZS7BfZa8dmUpxM+3p7HcCAMcMq2KWkG4qy19Hvbk339WCay3qWnZYZZ6RsrWHRC63Xx9Fo14PKQydlVCkOH+wLfz7/iRPKZWmnvvOVdJ5HuFcvheE5SYLtza1gde888Aj1Se0aL9T6xHTo25gHi6RE/qRT0iLpgSKarYRnLklV4tzP+l8+mcPfU+jtttWk7js6EJ9IY2WBmxKa2/kZEPm090RvMltWb8RA7b6SfWDAO86eMuOduI+BxaQRLAnE7xW4F2dxFOsQsPJXi5O+BjxKonTnAfLa4rbRhEyzodJWxtBxPU4umrVtmtTDhjPybzROsdqWxB4XdNah0hnVXSayViEC3PPxClNT4V0tIzpFIiEdvEBl+8TDz4y5As6RgD1S8GPA9YJYx3quXhcSmiyDVUe7h7tXBQhm05w8GWyBRYXgKRL7/3QkgG9LKHd2Nu5QjfIDDdW32KfndpGqQdf7BpRAyLKCgK8l5snOL4xEAeLhpyLHhmF41lCnjbCJWtDYTKxkNQeDjv5ZK2M35EPnM7K8u1gsaGPmD14QjiU3SwHSxtYqXyCCWPkO+st8jGFb8OSgUtdlqUn6adHuMVPfEU5N6+vB/H0gXuPiCz73E0JHC1DSXLLBPHJT3LHoPC0dJYPF4YQK3vOR5REC+YUbWG2IAjHDwl1ydJNrrqDU4FGZw4yYlppUzYgVXfXhL33kwZcxNai87fvIeJ4NCqxo3Z5KVDybFlijNh0Dol4WKytz76noBdho8W8drdxovPtI0ArGwfkx6AxsWhT61LunHsayU/1wGC8vPHLPa3gqAHSnciwlWrAjj3Gz4qU09Zn9oAI7d0J5MRGGp6Lb5iOx7FXeQrrRj8yB+YRttOFUPx8m8gBh6bmY7+ueGifAjG7ywu7YR2xQLaD3sqnhpjV3AA694CEkTJweohsZN6mKpZjWrcmNKxs7VOrzaxot4oEJNo1e+ntjSCrkhg+XQ157c7omGUVca1Gw/DkeTTw9BttnI9ODXq838SsaVyuj5moNd6stiOHSucjeL2gfAoYTzFnz1Ux1P5uQvE4HOQ7NRKHqu2slojo2BK6Xz12gSGZdkFVct3LR0pkzOKWkP47wFBK7PlBB6ojeuW5m2ScgfB7OQcYeFOi3zTuirTLdTTj6u+MCOLZlmzHWsWo10qEbQFTvK/eR8iqjvbAk7rf8MGGL2W77qP0hp+FF6TnEpYD+2lMPnmpTlDpjgmbofgDQf7HGTiHxx7EHXUwITYNyq335N5LrbtCASQHamfqGpTX0665hF8q1DHAEDb+BppiP4c1/kAT5FB47fyRAoUv8NBDpIinOoqWZxKFO4LWQHADSuTzYHz9ujmIEdmJHsgqQbA/UjXodEgwppPosNQV3pB6nFnn9cLyBxA8TZ+Zk5S04vZGE9lpE9E/0xqgpuEnKrHW2HO4yPt+l/OgAKv5Jrw9yCzS69KlIC0gxtfHpNbKYvAzn97PkJJjiyL71PmqpsHApe6mTnsRi6Sc+DmOFWxvbmqdGTnvjLUuijGy6LpTtYxRKlGAu3CZakADdnjk8roA1Tk2G1c+gizofPreIXIU7AwJBltSrLbyUvNClEaqKN+Laep4m1m+2QnGMm4EexjWeBhc15yYxF8888VbSkQPRDXAG+/FrX+QjpT/GreMiPA0c9P9qrsRfIhslwUJTa7zuXqBbs7dNiruZnrfWvINrcnqkbKC+LtoTs53tA2IY04CYxAIn7JRfdC8EQhNFy+jlyJpxJq3f151cuF8GYFv3cNqOteYE9njaxwxMLsZz9vzeNH6cc+EaG1ejXkTPiKrfgAM5QyGS2EyppAy4QA1eZS64zMjgMuVc9qevVJ/BfQvboTPM80zNiF8FaDjQ/LCia2lY+P2eoWpkAhImn5EHvESJqAwgCiqS6uCTFQ6uXbFhB1/FtC4/xhbNCBBMRkB9auBPwNPpd0sJ/veDYEs9fOvULjSZMYlE2engtZpkII8IIOfdDbaMr9zBcbbSuLPzS5uqryTvBMAk4tBjXQA0FTt6Nm13dsboGEs/xMu3nARUuVwcs9/HXqqsmfiv3Qh3ea8QEQgpv/05ADRlXA3owS/VQuyyCqjIUKu8P8cbi4NUq5gQEHMgAnhV+cOZ1KA+/3ILS5BmbWZyISkyJk2udwa9Qpq2DOTt7DQFABYm3ZhMxy0YKrV+t8VSVbKG+BRaVraYtWTQtW0sYcB7TSHhzh45u9BlPwFqbsJVmGxu51s+lGMFQirEu2KL5reugn3F5Cd96eefn/jcYkqER/iVEkCkjo67YQg4r/ULdPWLFVVxjN8hJqaz0edMyU2gq+Qnxxhgzieote3TQnyeh0qOpSQR5MwkPKYVdIOIyTTazvNTIgzknDhc6k+dG4R3YapB1qpFTq+4/dKt9OY0kNjdYsp4TT3hykvKe3VpISrwsuK/BynOz9E9nN26eqRvoiL7m22Aa6go60ngvKRCCyjd9kssp72FjCgW0ipD6HeGSxKb6dSUJzAnxtkJSq8ClywcsqiUZ9kU0x1MR5WGqf5VbBd9inO7FH+xJZvIPx30u2W/3FVYwaBI2/cVvIPpp2u9r8KUk23Kn+4GZ9PHV34uBoEXrtI9abkAqJrrazY9djs+vpWnCFBvih5XqNG6upBfy2dkHp1g1UFyljFFXkMsYcNgxxhQ4ig9Qj2vZ9IXOfxZjRal66Oj9o9ow7+eMFwc+ugxqbEjOwR1qN20QFpAlWvIJRQXCserwXXNxX7yr28qHmSEFkZlzpVOtVBqQXs4QqCLu10X8Tn5pqvrzGbXL+Cc2yJd0C4VPZNX1Bydr7T1IDu+NRI4tNV/joLK70k1izTfDz3EOYN3TSfMgyJcfJwNL/TS15EClQLgqEShy48tZoS0iABJg7Ls5/i4RFQhfZX8cOzlMwHh8Ss7r9O1S15mNTOEwpRQ07UiU6v5bEuYOd/tWzIvfxE64/3IrUrGyspl/vy/snFQhirww0czwboya+/za9qwc3bdSUbXbVsPn87jRiHvZemdzS8hg/FvHiNMl72o/NasbIo8ZraoZc0hVP9mwlVN25cb9so7W/XuDznfH0SP7Rb0gwjrhJ34tLS/qSOF2EQpia552nbkvIhrfp8vaDHhSIfhcMHFT1y9Oh5FBH6HvZFVEJwoUpoBiPJNiIfi/HQYJpSqoblm4rBdgB4n6/QVLDACu2ZmL3o86EIOBR2DfT8dTcw7k0OXEvXZSXlOOOjabnA2iSxXN2oz6hx92GSkh7/HpxS5cZLxqAMLNpN1y8A6W2hhiCsju7I+p0DaX8ue11u0dFT34PNmkXnV5QcwgBCAuBtXSnKUftsS44js1bGzUdeq4BcZklTknSepwtAXb0ylOyMx85CTpW00VqjS3wcJ27eLfuVBch+oWRgQVH6WveiwbQvDuQV8SzYecUj+CphHdV5ZnuxObUtIA/4MM5TOlqAsAa9t49mRsIbZb75kRlddHH0QaLLvQKzxr3PxxAO6LAVGpffRq8jekg8Xn0DJu/npKkFvTYODyksplM2zLbvGGh1zdbZwwaEekDj22tT2kMyZgTrmocbdb+Kck19CPRySr8G1qsI7M8xywNtc7xj8UAM8lKSllxJAlHArSv2MlOHjussRLQLV4pTJL1F9m2HaVEwDQDddeFYkj4wt8pKzbb4SAAkm2nSXFwbxaXqMxAw2IyMQiWMElpQn2sRKd4KOlznLPSRJOlPoakxNa1zhaP6zeCXHHCmIQRcY1DpTrRV06VKk6mLh5RHuNZ/EHE0Gr19eBRtzUHc5UJE8RTSwhduM2GwZn2KERE+AaTg6bEEAnm6uWZeMpTt4M5yCHaHwBIuqkXKt84aDQbZff8BMUCKrIXc+gVtE3yecUGQmjxKh62oQzR4bIPbTTwwtdEy/ckMK8YhS+Aa1eayfVVHZNoGsKRwEusFkPw+OzqOSr2ydibISWT9oPgswFZ4yU6v439oA+HNvrfB3JbNE4mZKVGe0fhFaJjTKYgC5Zcokdyl4g0U0Gr9IZzR8fMmBKJVwcJQBv+FttXA+uGX1XNs23l1KSypaw6lLzyZddA8OOz+c302Li3U0TXc9LP7rCnr4KBAWApduVtCqJfxCwfvtEs3CoQazxALLf8hBhJW3qWNajgqFzM/dJeAfW42sI19D6WOCIGcMsNDPIgW3fvTu8vWZuDR2MKIcysT4Jr6MD8pi5mH6UdjHgeWyUkb1oYcbiB4e8VlRWfcu7tCnpB/SC0EDlvVF8Jt3ZnyJuXE+o5MCLjWy0TEaQ/1KiEMPhTidy9Z8dshJgzRzpaaUTxtxjXlFzqlIYh3fnVWemRWZEIMi+J2EhdE9kWlz8Oct1/oZvKhZsGhLCBP9VPpoLr0AIYxD5R4VGr0aUhHPJfq54rTTr5p+IhJYv+Oxsu9LElP58+PijGZkP9qliyUHOvGBefYZbPJGWLQR1WrARYY3XrbrP3/01/jPCjxr9Kf+EP6kfLcmqNx/liFNF4ckAk1Bf5Zq0/OEgoxGQQfAfOb+gf6mIodIlSRSyqIvBOjZiW/mK899JezP2qxn0EC/0VUs05ATae8ovGUyws4eVOO09PZER5dFm7XSyCehfiL6Aqeqtd9flSuyXnfSeH2igBehACUPvkJ82Vl2G36oMg3s23YrAF+RZf/oVoWTQ0+R+3GD7a0o9ZYwJBqNwS2dzqD+8iElh5lTj3oEnj5ybeiXffEdmvVPDEiUwSC/GOKjhR+njJRW11UgHMv5MXSGca+AZzCQn4aeFxUAxjVCxv4B7Pcgg4AhxHjMu1rOlrcvkDndeAag0nQgTkgJWX5kUgVcHb738Z2enkMQtCtmcFGT8oswl9asmBUoLSv5/NO/5E92jLtODZg5SK5E3vEESDr/BXe/LxvfNw/nDJVNwGJ5b9hYanOxYoPycgOtNGHUkZqG58c5fd0X5QNphjyYkeEMEUKXUCSBSQFw9V6TyFlpl6DQwCMylt/XZqMR4CZ5enwP/2YADqG+dKzI/E7Bv3FSNKmClrNvU20yfyDQZCXPsn8A/p2sed17OAibH0nj7iiUie7cpO1ivsAxsJ6Mh4K5hlWGZtG6DZY7fncbge7FDM+R3WW6Qo3TeXQ+C7N849Tn0dwvf0zNljyOgCrZ2RxO6nEu705VqhzF3k2TPLuebdnyf+IOArHhUOrFbVxQaY/Oplm/80fWcRzcFUD7cLplU5ZSGVOjFcTlgYxFQdZpkQAXF3LRxrLSU/8btcQhUNGc8nWCBWbUU6jo/Ls5rIB9pISQ0Tgh3qit2dvgntfuLsyzvN3GHF4Z/cNk19FCdI3trYek12/XJoFC1zf7x5U2uHBqr+jzkFuUK9/hNdDn1daFHATIfo8fBFmZ/Kepybtkf7IbJWvqShR+I7l5ZIgpMu5VgnU3OZjz5fWCvBHxeIlYm1vcF73D1kznusnFFBXPH+ebquYslpcPJxUQTfMxPSAwddKOflYkHhwiOQWLeDL9V9sWCqvETcti2YjxE/1a2OQekoGYE7ivXpsAGQxAdNJiq+3AdXYb03iYIzzb1rYXjFtFie+7OpbILn+Lp3XWk9upFc19GnCP6VDteeuIiYeYV0mH/XhRqe92aV0J5x5v17CwR07L/bpc1ztAONbVlIB8r5hYHUJrXhocP5fI5s3FmskCpVM3skQPfIqGk3ov3Om74Ix5820vkdQNReFjrPnYFOAlwqxomOsL5KNiDEA5eHwa521q1+hFt73lX8Zdp6g5w8Q9KWJ+0mJBLiwImIX4H8TGt0G1duHl4eFW5StZTgFs/AQj4ksDkW44lT/wSaF9e58d1OMbKf71th1ND7BXobLSJBV77UO3hobr65gwSOmIx3uBvZGYKflzwrtax3GRU7Ki3iiYiGyZzxSP13oBU8FiVTM85oBWDuRxcFKHZFv425EGGev5Qh774bfSCCSbJNPmspAoIPkWIOCMMnv63kM2Rwnpc7sRsiFjJdXWqeWmYBbhSq/CtiXXZKa5TdHyyl/fIdrynRx2KWv1yDi6Axng7eyVazurXZ9mWBwqGHjFapbtxyNu5CwcAzFRZqHVjgeXu/55fUTVyAfitBs73j6Zkj7SSHsoKCTwVkHkgNhkB9beEN06TO3ICdzxie/Ff7BsUI12GyQ1PnKALxEgEXpWmjSyxM/82fcR156JAI4DU2UMHVL3ajZhBPp5k5CGkxBaGGqTqg0xDCcy+as0U0n8JJfaqNedOX/PMPVD2LXmjQFnTIV1fX2IEsKJUINb8xgBUwBgfXAgB19dVAsPyvAnKb6QAxCZ2rbc2TbuSKsCwLGeH9vOKR2xiCFW/+pTnwiOMJ+dzjo+Pf2kiXjXOa0RrUf3kX4BtQE9rSP7XMI0jBoUfZvmrRTLvFRBaxGFTEqt6QCg9ZQw7slGumzJGI+sGOkNtpUz477u/Tr6YDvGtbNLCSQ3RGDg9tSlfUzBIsGJbdTk5/HGqhwqODDZ2wL9PvVN9fkwQtWG15MZ0sTVfUe39ZOvo+cSL9t51q/Craia1LjR7SFBssxGc15S2OVojU+BzANrkOR9sfmGEGXA5YQq+9BEOvtGqnxratM5TYS0hGwKpn/PirCK2bRaHeLInF525oVqlPxXNgxnwW6oRKzlYVMlM+xeus0SnPMbkNnnLBB5vczo1Ysw2yctzV3MjaNi1koIx4IBfBGBrMTVI0NQ+XikWlz1TvG/e+UtuLbLmNdPaaDT2TYfSnkNC1bHrXRAHwrUf+vNe40FE827MdRNoZjWxv9klempS2N9Oi3SofXEFribkR/Sy+Gv3katn/iigYd4V2v3ON7tmcXOGywCB6KlNHGXIf5exxr9AExfSMuRYK8OUcrKWlazdQqrqK2BAOT0rzaS6kqURwbgKZxqDrwPbGiGuYQ2NTLW775xCefXY/pFLF2QqSLFIgBNr1nVZwX38ZfFFe3wy2AiyfFMpxmAv3wUsWbFiXUw9eoZFCwl1JsQoWvFmNbELnrtFoezzG4NnElKpZiq5vcLWhT6mUDLHZwzcoPuNV3N7Il6BjG/kh4ZMNJyfUhISBXrI3M8BvaZ1NePz/5v32fbdusZaYIxz4XRxLaF5RU2uJWGcCzw683LQ7i4qkmMDAfpPfPlzIMQbweOcAfosozie4wC5tOdwNysWmYhtO6vzTve/0feo/4pviRtGJmN1+WtMe8XS6XcBz9rOpswf92WKiwdkU9pDz3bzPAaL0Ysci48UuY7e/4WF2+okOqIccSaCxkkErMQ4K4WGIF58nN+cGRRBfh1rEbksag5ImrnzKe4qeTZR7efMvQKpN6oM5XnKBEsYdphrHTrePe4UlEwTc7IFbhb3/o28vwsnWVIM/JGMewr5r3CHAfLgEYKAqzqCCNdi+Kn6/MfloQNbm6WQat2z/O5fQAZTW8o86j6CFg1D9xTV+1pI/Dn0bwRPab6CWjD8XJh0R5UB3QHSTJw9y+PvNznqTU0A4KPLmkyKt6/PmjCYBiGGTb8gH5OTcfr1D/5W0IjORl+lLnJMjMLf7Zs6lvmlW08KxEUIW+FMknp3NFUsjGq9FbCT8UX+JhRbdePI1RGxh59G5Kdz3q9YsRNh6CBGcndIXM2iCARZvF5i7VavidN+xvO0gHVaqF4VWXGUw4UzDrkDuPLYspWw4lUnzoURDdC/JTDytHPTo2FlvwTpB7/PPz6Ca97ajDKXWb+GHo8m10Ba1WRErIpPJqTL8Qm2E601UehyUoj2pBz4qMrRU3DSsOKlbfguYr6LBnlt95ITc92fmWk44ghkUQ1+w/IH70toUJ60tPmXJPjAMvIOJDiZKBIeOfEafe1nmItn1WM07PqmbeFaAdf4/t29Nk4eEQNjAda+DwGD1PHVSPfmel0C7UJLIoRaBP3Z25L1GhPdl1EauVW/oPm3vbz0xgbg460x7fvBdAzySOYszticGTCT+BxPnymILYNJ8EVGd3ejWfm8EOQLDFWFM55UUoScmtBqb5aiSKgcdKlSEI0CkMiv6ZYBso9lChTfuvUpwZNhh2tSuJYkukVAuR5UOWjjnInlf+Y4kiRLV/5akdH/eLXVjQYj6npLkyIBU9Z/5YJp/tUcWQL7AMLuHRCgLjihxqAVe76OSLQBcRGqn2jjVaPQZqdVMwBdvHjV3sy4RtGfCklDbk9mg4HLClMO9eQ1uOp6wgSSYqtRIh2sAYqF5tphVIER2AEhaW+K594SBEVrz26QXOA8YFVRjAZEeQU/MA8ddtgrL1QApiaq7S2315gC5OeH44nYIB6hOtAYYJ93hSZ/cuV+uZCDd5gfgkj+zGuWkympvYmrSCLPeiicynBRwlPgYtAKQxHu2QmRlJBm5hsmG02lr8B96Rg3aPrjitHkHE1Dk9H6/xEtVN+i512zK3odI7VHzZLdcBENfVJd+0M1CqjHHKoM+mdcGVpOQZBlhUbfN7jMjGUfqV/6dZsZmse79Wug8DD5RPvkXHkuoHMjaXihby2+N354Oi0av4bgHnCC9YvBBfILysS9RVCzCJoZ+7wH1W2/gp7FiSv5cESdr82P8yULEYTzP2RdkT3l08KPm1ci0zy3fmDLmOr03u31Z1U4X9hrfpAyrzsv62fGIqlf0IZ8CrAige7/R/keVBs1U9ubYcWFer4vcU9oavCoPyLMWw5blFOLTW/O8RwzObAFh7q66yXeRp/9KKu1HLPUYgQlcQ/Vq+yUWu8pQrv8gMXk8b3Kt8M6L3Cy4M9O/e4Ws2D/0Wzy1LFpfOoOBw3+0lvYGS2qjR9CeFG5ZhQgvulhSqxCYM03TJZ6T0D5UlJnARO2SbV+DIzKMdwcxWZv4Nmh/R3nLqQXE6ISu4QkEpNzzcPPXMW6hkj5IUPwJVfaWq41Wrheea5yGoxhZZXL0aVFbBf0clVQKu7YsxpAp1M3N5fASVT4Zvvp+HrnoKhed8yuC+2hZYxfuKFv8S9ouoNKDInSjKMDLWM3Nott60Iv2WknPNs1hpp+nlCer+HrUdcNGKGts6Xu7hYeg9k1FvK7TFoR9rSPh1ZNbCF38AYCtykLqMz+dazbS9Dt41ZNE9Hya5U4xK/TP5OF4wA6bgq2+agaMdiAMh9jl1FHBpxJQAXUminJqoBY7B/LvsLMVjspaQlZJfZEO83W9avMkLesYFlUP2IfXkOndu0+2cGv8b8mhnh/M3c9aYIFFr5d6KYv7e+z8iXSzKRoAvD5nXGSSTe5xwOKHFs+w8I3dd7IjdSDLmSO/KvZoOfNp2hrjuirujyVOz59qf0kFw01bHjs/glQwe4I6dyZM2PP/xLFSrHWkbi6PEwciC8sVg6bBucE1WTqewnco2zWkUdmAlUrnAkV5xVk2ywT9L35NGZ61qEQJt3XKjNoHZYKevaPX6PW7I3vpvikyvAKI45bU2jpimCNKy9CYo+6SfNceVqwtudS8nGVtGbEQGCzxsQgvdYfMPjL8ifqlmKf7vS4uxaOU2YjWvVjDolW8aXLxxN/YOl+O8CmuYDiku9Q3cADtgeoPcJRbS15Jh90TtOFe7uyXjQRSDgO+aYiinDo5quvU0hNMPRuXiXGvaRYHas6SqTJ0FvU2ZhtVIqYWgjN5nOs8GdFsqOSofl7xI2nB59XxG08OmMzgxzpSDYjZTzQ53uf9guNrGD1dXJGzKXgX3ss8/ly7HnkS2XYxTY9OsFmRvaHF8FTup1zfWvqLIxfrsNAds9OJlofTcojQIigztoON8pftVuNM4fKJU1JX92mPkciVdKUjX2YNVlaWorPmTnrz4Ui68dloPYzTppTSo2OL4f2Dd9Ob5AysdXCcXF7keHurXmftYrzh+DgtNL/y/q4y5we1UKbQ49dYRBjZY5TBJkYgjPD2ZyH3gQiseRWtxinZiSCYdwVMtL1dYjMraxQL8rlHEz62r4tUfzEA/qbc5Clvut11MswtLL++wwa9lESxnu3yMhBpRQ0BXWzNABq6NDpECqRIgD8DEKVlcOiGGW3Y8DuMbN8wBthI6JWQX9PZNGFi59HdpYdFGxOtfDDXM5D/34/UCD60B4ATZ3S5STmr6QBg1Prt1Dy0G94GAH/Yk6qEw6zMLXlvw2jSjx3WrteL3kQunOdYqZGeGGjurgEKX9msuog5djfPkz6Dsub7il31PKVLoMFOXi6pz3w+tgWPOmLx84uCW1Ezd+4zpSrn3X2YGW/Qd9yvq+bE+Io5xxTJbt7jDfoG6okLQNztmXBG+3mjWZB7fBmK7JETZ2DDM/CILvd28Q8a/IBBVGD1ATmcxJQDMBhskR968rwd/BpfxUqz6veIEqgeCTAi07pZMzUbMGq4w+dRORvYFnf2NlIRB5ZuiPo9Lm9Q7tutv0u4RlhJRmmPA7M1YUyxW0keTerOfwGHe7XtrxrMcAIhdJa2EpGz9qaf3P9MAiqJ68JJH07ynr7LodbuvNirbFiadqCMLZd7l9OfO7eeLOGWOh2nnKPvKqXELCXUyGGaynIvxkv7aJR1p3iyi4w4rQ0hty4NugtyX+Bbi4NbEj9UOnsAbFaUaYaW3Ea2WjUazb/VcdOqq/jZH9OBflJkX+DkV4wYxXO2TCrjzleLrvmYSUteP/k4V60Z0nM7EOyfaGQiusc1483HbMpvABpipINCk9G0KtIkp6gTtAv8YPWRj/1C3bJu/Pg9rILM72mRg2Zs0Uj+oha8wjxSZO6dD0OroYm4r8SgiuvgsSdA7ohkwb4+cPCzavTp3pneXfTEd3eTEDl37A7q7wa8Z5RNZWdoXo3gZFyqPMAAvKdDrlGDiUtCpq2fvEJ4jwSH0kJHjdVrNRceLp+SJnHXH+Db2q0MDUH1ja+bAjipAi2cfAPx5IpG+/RksPYwWmPV5/oaw6nML4aLqP0KKQiMMkJso7V7CK8oFWW3MxXm+eTo6ZKOdUfJ5oieELvU/oTOOCvs+EFkc1c/MHqtwlLRC4/cWcpxyouzyzwaiHNP/czT8uc9Ud8e2sckbWdw+ZuXgSTmbwqRpQrefAMnGMXN64Ko7R9WMwhGvNrPjUZOYMjxQ3227tDMdvyt7jbWJL+vSNslIhoTfILdjLOGS0lTn2jrmzW5F5Fzpf2Yr9Y1dy5SiwrmSzleskSFZw/ERnDbJKWrSjaId8AukfLcZaqLmLIhXWspIKrl8+Q4r2j0NUAg4+kBk7+lVoRF5yl/ex7tmHzzvWBHIrUqv6CAHsFTc1OiS8OTZfWu5Xe33NrdQ6E21/APgb4NgURGLBIor8+Q6SFTf4fOEgBiGY/RE3zoaoA4yifY7YuPKMJmUX4V/WJQO770BPQHAW6F7iSqvGi9NzDl5u61ORXmuo2Msyr6t4EJSLb+jGe4Brz0QslUHreNLeDglAsuNaRQxkD/Lgcla9rGEII9NAWw0Eod26DTxnAQ/YPwqLyGxcAbX9aAGTDPPUTvGeg7j9Hs0RGKMUOgg2l5CU8va01AbnfMPkb+/3wALpkZz7Ol8xKBVFw01Nx39LKC7LEKi1U+c9G1M486f6rLndTR8qG7kEfmdR247RpY4Y2K6KK2VWJPY6MfW+Ye7XWYUbH/c6HuQ9L59UHrn6OV4DccPfCWrb8mhJLQjUq7YRZLJenSZyh9+vUZQB1deWb0fTsR7+wRxItCBc2rDaADzlJGxekwvEpK2dfdzl0+MpbOtYVdxgdV26wB5L3Sg6S7qF+S4NsvvqkwO1jdtHtNTdctcZHYOkPQhwTs2A4rXO68lnZqc6vn5aeGPzX9ft8Tf1Cm4ziJ8g5TTBmDAbWucqUObpTImZYJ38MpyWUZOOLRo2SZzXeZkDZgVyQTNaQCSEruCAa8mYMRY6x8qpVKbvOqdZfylkfGSSkEob+VQWZB4fw/WCmS17eGoEW429kNTc1N5YdihNd89dRvRC8BfkooCXuco4OMm/KeuojIxsokJ7KN2Qz8zt5EjC7CVkFwp0OsH8Oju3OFkFAFQ6Aa/AZD5WpNO77OVDarpQrsNQ8tu+iuBb4UyFxItyCnpR3VzbP2eYzi5tek7ng7pRUZVj20dC451e9hIX9VaL3cC7dMOxUwImvGN6zsM8ng7UD9xssLV1OgfWu+5+i5PS7trX6miTLVxrGRoTPSj2pK+3cbxL3DKp0t0wco85oc8ZfkNSdWgZoHSBH0hTessEs8DV31ixB0jP0UvTkOU/6dcTQ1EupXumz5Rh13kBrXhwS9r2HDFuhFBYfJIvhJpw1hd902nMCsrXVg7L2nlv5QVNxlP8L/aRZ4r17mDH4CKgfS8+o6G11fZ6SUf/7pnwkAwht1jCZ80Vsmq/Z9cnTeFfwu3lWfkiD95fzQraDWQORHOPODw2oO5A+e8HvRhwEXYfGkOoh+WFvnbhYE3rNr/D9qM2UTtJpKPlxiqHU+5YLBJVzudlShv9/avpoSH0P+BIVkCXJwhxMn33qIAv97/ERuj8RzHexHtyWKTN3nuNHb1wheeg6XC07fiPgkl1FY6mkhS0CpBa7Zq/TF9oh0Q9bHPk5PiNq3gBX7DYlaa2pFqYaDrWq2z4yaFaGapOFwWwuoC3OK/RdDQ52wMgVd/Q3E1Fl+6dica9X7CJU/Qx4DAD82llsdjKBgNv/HtzC6T8UStBn464i9PObM8lP/DNHE0ng25ykS04ezdnavUB/3CU0VzfKWmRpgJI95RnfS5mezL0YuOiremNiIhQFPTejkQQHbJf4srsPL3XtiHf2cxSkHahcHJKp9ffL7dNkZ/siUjq6zjU9uojahm+iKN2ELFSLbuR5FBwupeE/V5OIkOb5qcDzCTzjELrhE7enTSyLR7j0kDMPRvlFhDAvM1XdsBhCeW/SyasSHnmWK5T+UqXTB43zBSWm1Prn9wbmChIt3q4qfwULU+RO7PTxRy4QuJQTwpf0G1OnSI2zSGM8vK46muVAGmHLn2w2VPdxSCUKHADOuYQvS9WTKue1x5MBS4+dFRLSCxeojAsiTGHcASUTyWQg9V6xTIIWJFbgo9bAQUL7hWk5ON3XMv23IPROX+ih/Exg9Q2ljgRsr9nluTkRbU+aPjqeVLU+1bmJ6C8AraJ9ptcaefkA3ai/hf4K6+XlaKZCFeyEWbPcAXufFdfLG6hDSqjAv4k+9dFQUJzKi0AjTpt9+0sEaYI+g0ky0K6eCe+9ncpm0HWgz247Fzra46HVy0/ag82VY81ca4/o941tVGTfzrVzcwk3ICpbjZyxlApR/W1n4f3W3V6W+QIJz6dD3IZkqYZuViSyxG/3Od+xOJF0W5yFEthUWCaYaz1EJUWhrnppfAKiuUdlkWN8jPPHwxpSNYiWIGY+5n+LpgV7fE4QwT/TB9Di1VO/QOPYzCl6QUOEmf7p9taMPJuGPoYYQHwjDMkNLDQyqQ8u9d2YlmU0Mx6ENCBe19v616iEAH+W+Xp3e5P4F+pnbDO+AXgt0ilZUyP5xPKIHh9olTHSa7yS1XdckKoKMqjkkvR63JHVTX9cAtEeKjgGU9TqLUQfrjP6OXdyIKfLZz+aFAj2+n7pachPQWOMBtiilDtTPDV8q9e5v8vg6ifAUrYu0c6UwqX99kDupv9MQb465BNVxJYNy08vnByxCXr38iuHqU0cNDPWADeCBEDeBKNl8tm37v9ApipQgAEzgJnvDJ3Bl9uDMGxpF3NYCHp1uOz3URPrKZXUmhsnvFb1oz0ma5C59pabASLmofntmVGAd5juDSI2kYs5s7dGT83fJ4ohX5pq49I8ucihpiK3rqjLwJ9UW9jAJwB6aiS8PjAp57d8eq/GuPjVmfGYBK4WCyohhACafBRMzz3uQNcz3Epjk4eDjLaq52ZL6LzZ+aJG4r7xR5hEVU66CSLLS0AqrDvaZ3bMKU6rgsxnImK8iMuv2hC1b88x3UYfMFoDwOlvM0/Y1zc0wPTF3clWeKMi7xwbxKcjhpRSyuFUFckSrhqgk9Sr00FYjuC6n5RXDlpJs0x4b0gn5SqlLsNCukl9vBYUKrBttb/+VhcumrOLnk1+4JcKIG+d4aGSnw7IGzC2ElbHKo71VRjOPv3xOmIMEf+Q1wVm56Vu3ivaTXSNUPz5Ukx9ke+eS1RjMMysbz5m+lBfFrx/BMJQmgzM9HNqfKItBqdmz24MNPQakbYlb4Yi4grjbT9nBB64gGzeUEKbK/x1zwg9Mw/SVU+H9vgr93Bo3JpsB0cVwQ6hcl5A8taRN+hmsikLfRj/iexMdwFHHjUBnuZxf0wtsMRa12ozLkfQ62jzDmHZvQgvK0+3RIgqCShMoBDerfdyjCJUGY0s7Jiag7lfJ0guO70PC/n+0aqWnqjto+OO20v3nUaCvhP5n3cCBfakPdanJ9/Uhks+cqiWsZfi7O9MFWwG8FDDMEBfKjSfhz4aEHvzTSssIIE4+wTyw44WsJlnY4a/DVDCBukP5o4zwp8ya20copyPpPGzwZK8JHDQ4dimfF9OE5TNOlhxguGblWvNDv0MtJfpNnvQjqaWNwIPGc39pTAFd6ei8kRiQP5XWtE3zgY8jwAIa6ggwCqKfrUDhfwr1oxwquD/CTB2ddsJSNbBtCfY84udpABlfD+5D2lr6Iju/7VPpXk+y+OdW/gfoqSDMKwc1jDah9BSiy1pMJ+/WvLskKTQcIKtl1sPjkNzz/Coqajg1cf4C7ypVTmU3hzQtpyQcRv2yw9HZZ8WbjqhardR/ZxFTpfJr0ZE8WEKxb4vzeexi88/7FI8E+9j0VWp0LfXVtXQiMLZiaTlbvy5gbXU6JwYgXpds7vFeb68yPqpLUJ/BbZpv75wpnrQIjY8QX2svZtSP4/XDkh6gU45PZYN/0F5LEIIFa7Eb+EpW2walnf25AZ/JrSMbdOsfF+Eb6U5dKQKxc8+jECMrI9ZY8ZBljfs9Zk+JtCQbP6iQCefjvZD0JYQldVuzscsoDecNU75BHDL6DQY8Ur55aQwlGSXoXTBuP8ggpiaRc0PPd06ZR0j34M2kyfRAwLw7jz9na9MOYtZoelXCpjqxHbahypN2VZjt6yWkfcDCvZ3WmoU5QhYeBLryd3X1OdyrnKG6Nb5u+c8AW6zc4zno4+n+szG5YQ4nOl43DmStKpOTEiJiHfEqtgTuIYAFTYfggU0vrmDrYq7jCcHD8ze/j4CJq7wf93EKbk6HEu3Nj32cqfh1aIO22Ai7FqtTdn8JN2+dQQbV2wMfOLKXxq/q02hhWBetIO6MGDp3uf2zK0tmLb9GdEAzdItRYjjurIDZqL061gBAbs81sMq/qejAyOpqTTxcqS9Fu9yfvkOd+xKDut1Zagp1u5kXFAG688OU4I54wtck3Rl3aNU1vZxjvppj2gt9H4r2IX+dZnl/U9WvkV6eUnSYqh/pAW99dPl3F8APxMBXeIHFnflD/XUT9rZTJEQ44MFKcmA8utf81kcvM8oIr0s16OTw9tZPA9yMO8iywjPy6vzdicArRchlsAFGPh/qso3LKGBRCAIRhKGZRO+IOpLjZ6nY0CUMh1+JZVkNx55aNpAf94BKXpgirXuITjfvdssdBijXdCxmdfbPp2s8ofNTu431amxmoRhimT/+oaD7mwBuXfq+wbkJ1CfK437Ci407hr+2FbZlUN99WhRqEI8K09VrSMkFfDYNDXIegFT/m0mZ9ZrnrVbXtJHVlSqXG+F747cvJe5jNBD+rwYOdTX9uy+5cFTrBYATUvPYRDZMQ+3AzdW+rTMlzRaQGzNFcnBCJuTaVKDadDAbvJlMJYDwvOt5jLr2OyZBUGmYiOWZm/uCwFWSHF+6lI3YdYCR9XoTWalLpyMwuo+3IRKlUqxJvwkFYVbCE65YYKO1HlhVAF6CcmcyyrRFoLGEdr6s0SfLmCOWWbP2nYgx5Fc0JdZOWb2yrmXUnBLlZ7Vd6PvCAOCQm15RqzwNyQJny18kDU4ePSyiFJZU/VUYh7sgw7JAhsa7tm/mkTKPx4bcdIygX9g4kf5vg8FAHIt5fSRv8ZIwqofFj47aKwY9UZmEb5Dn/cLNssbJ0xXJDg/lxI4KMnb1DjpuXJ/Vu9gPr9lL3ODO3zE1WI1tz/XKqF/aDj+YUNzsJQcYhW77HbpZmYXTykPq9RC6isXbFAVeqILn+LYPC9LElzF91B/UKPf5PhDzsexm7cabkM7O4PYF7B6WdeopxqV6jk4koO6ALzBWoi+7udHcQOy37Qq9+osLOplcLLPnJtaBWjm/yk6mWVBPD/LY5TA+f3FpsDFK/C66GaMWPukEiN9dPh7jyGj7TQbQk9/Op0VAJOR1poCfb4Lm4V2nFWc9uPUdqbFMT4STXG3Sh5W4NG9AgHY7ck3aRS7HopnLlXwpEKMV0TD4+PCfIkDjjfU33jrR70xLRfatizVAG035M3D2GtaD21RR4iybkOO4W542UpOi0SF1Er2FZSwUc7GjK99We0FzcKYpWHe+UxahBUFxyD5GJkw6gpfcguC/r02AYrWQnLkWGrSJoqEyFsoSd9Lo9Y9BO0Xn288YLmIUMyWLMR5eqQ+G9SdfcMSxLEOcjhYoJwaNV2pFVzXxRjlgeD1+CX2OoHXnXAeb2j4bSmeP4SDUx98EI+4dYFte6+AsnhYK+D+f919+s3n1lvLqlN9YW5+c8t1TskEfau9xfTFHAwnsmyn5aBtKU7qSpulqQ5VCnnTpWA7PoBkRvmnX0Fs4tzsA6ruij5qi09Pn94pXhkWJFVb69rhAYCR4Zwexao1zJ+dBq313WG7PMeBEgC3tut3z4a3dJ8wrfhOtryXircLWyirW5KwnKmSCcKfzjaRfsAZ5sEFQ3uvqq10tl0F3XbVo3+2G1J3EcpcuxhcHmpvN6xk2RJI3TK7FNkWCMBH/hnxqI/STIhBRgqE5x2ZxQtFKmTKq/uwaliMktFxAaL5TgwJjj7wkHFeC4uvow4VWLCUQWfKImVe/a5TycwjC5qekJEWa8Oi+IJaADE4y4TD1NO90vj0oC4Sz3mRx7pVDKm/xbiSwm7zNiTj602Jpe2Ah8zd3uM3wJnSZtFcDkh7ABj7RaMxhWDwZ75EmsyNJ+hWk//kkDqQPP7bR4DHtiyXeGRjuqWV0FPnG+sZJ2GIiR+WqtvFWmL21rn4Gf0dtKEXqUN/DrFmuAMmK2fFcvpktwn4Njd8DHvvr2qqeP9Xmu3KzkG8s7l3+VOELB9nNIYI6UL8Shwf7nFi0N8muhwAbAmI1ppkAdgiofJns4EePTvuZVq3Haa4gpJr8XoQwZdRZ+53c5o76fzWSUeJzEvmk0kU3rj4blBZj7Sed1DpyTBGFbesPyHavG1S7YX22ZCIYgApO/hKVxchqmwxepxVe4izYhrILdCOIhNwHwRIRfQ2PnONnjgs/wgY7IkXy04VZ0O8xWjJECJ98lC+KMWOyFL0Dyah49lRxF8eDTFWNPgi+ccJxTClpesj3aXrMkvD4p3Suwe1ndJEk5BeD2bD0O7UfN51tSQ4YFlOD9uylGx5zTZ60wrG56tlG/CWTYKJrOtsJmJw5A5OvY1N1OA56zAfE1KlIZSbFdkHMh1PWgZptCZB249Q/FD23xi6K2hGwgSdQL+l7qmBhA9JeRn6ww944QXzy2JPbzbm1smDaqvuSz83hNZDb5At4RTuMletUooe5hSQEiumg5Y8FYWWSeL05Ur4wcsqZmb5QHLAFEGWBLEpMpXQ89L33Sf2d18HxdqhYxULayBTu5lUCRuB1/VTkOJ6bEDbmQF2PRgTbKVCTuMSfiLucVQQ45AhE8usuVh9EIFIBxp3rrglb8pggj+MZ9sH5uhEeEdniAIeCGU/2OcEkkn/AdsTawxTxTlsLO6Z3P8/E8KHRWbQxMdhYrsOP3wQk7b2JlDc8BYGXqMiwWlI4TEiV9GnD2af0nGWaJxFm2xbK7Rh9nwBenqZOYjWLeg52sHRPxjl3uSHmjaNmDh4wd3Krt78IDUrk8aIWUomXa+H8Bb2TFPN3SshxmvkiKSYkF3zZn2YDw3Dvcf1NZLPc2AsxSYv7GJ19H8SzWxcBI0WeKhR4JBd4e4sr7JheOvTYAqwC2xlZgCZPUPtEVLtfPcS7xid0vKs6vMjfpEtNwRKlsW43u1LKcwo4kl526Crxyk6M/4K43+Gq2orLMekBjQFT8zx6dBj1/az5XitpMhymsg7BQrccsF8947F3H1rP1bSlnOYeQ1++iePgVxdV3NZWwcFhYQ//AXBm1hUT4jmbqzpsO7SGl59hU4WrjlccK5W++4W26kfOUst68w7IPl5IWJoETarH7KAFw74hOdJIIwyCpszHmk4Y3/nPiQMVtghGATe+SYXSqACzmoW6OWTdSKHdjmX7OLZgmb7mtrjG4rPlUjpZdLrz2pGhCrRN/y0WN1ogcu2pM/DyHt1dpgDU7zaKh1iXLSP8gjHoW1LQEkV5s1aek1J5JR6GHtvpLF4kO14zZ4Doygoa1IcB0F796SPtKa+a6u916FmHxsJiLhJuytAI7paBLPZHs4uV88jqTHaNMJLiD1LpSyc+F+pEDojjBYRLmeGRbVEg6Yq5QD3euoGKU2DMs4Od20OBodp/vFmSsPFBMb+ih9a2KYs7FM6QD9qDNTmZtYPrYHaw91uK4Mb7vteqgPsgnRq3pV7r3+k6ROTVeXXagbAlfj2Ht54QI0YrQE0SQ9uqGkCPRW5Sknyx4PBdHcGvFoeHcxtRQ831F0KE9useXsEQ4R5z/Pf4M+HOp3ytjarsLwv8UluPNZUGTEbGWbbgUQUVjZAfc/CjV1Eko7OM2t7Qv9locR/vJlYyo8U4OpSKwd4DCJaPq1oyupsGOOlTrv1hDUCkOW4yT5Ioy9qvjHpOj5R2KELp1ownXQmidPvDHhN/IsfzVg6II6GqSWGYtXBl6YQq0sBaEv8GtEpjXej8tgKbYajUn2POTbp9guppqpgZnsaavQdEY6Gmb62n+2uZgRLQo5sOoSZjlKxaO7tctSobqRUoPvgqxVDFonoDLneAyOFoYl5puXyVzCJ2dIyiJvSCIZo3RhiXTLsMZ9FSgcHcZd8g1m1a+CQl+9KmlsS8r3ZsO64OSSeNAboim4U4jNaJa7SQB5hjMgMkECUETz+fvTHoSdFYeTh1kxbfvX4MDfUSrYxDWbivlfC76wZz6Zmc4d4RlciFC25RI1+UGNofZb6gedullaimtGmpHcTZm+wvVquoYce95SU40MotvGU55z9kyLqIKC5q1k7AfTJCUiNxMzu5rDSLgd3CPnTz1+FidPhHchZ2vCnmFCeFhHWiomaw638YsU4xykQIOj/co1JCBILKiFkmAQn9VgalAh5uZUXu48vOHDjAbCZ+7uRaynJDEGSWa8A9Xf52SyMht2cVGDDAJ7GvvhUxdP/xDayzGl79BWU3/SsVZUwtjlP5x56QkBwRVNTL7etGWv05CWUyQou+BVCS7U1Hnxcilzia4IG50ykXx4ZIYgahz+SOqcMXn4+q3bKjpEOLyhNR1ltBxXc8xBcz8W0slH5WjALGe81LNifshSr9ACvC8kY3hadsWRec47JENXrOQdOTEeeiynjRPy6+ti6TKS5iKAHGg/iIt/bSB9wJHZfkMF04Oby1fa3owMzVJiwABkS9JaB/hm6f20o1M5DYMPmrqldhkSMvzaeSckVF/nUkOHgmv1Akn8cJaS+z+IaVPLJ0pBk0alIv+G0uHH620zP1wgNeEPgPgLF452NWQVrmQSuN5AuIj+OQXJp8uW3KBjc+cUZ6nWssJ3v1DKp0Np/ruzao5A79amG/dpRbvc6W6VuaR5nRkzrnU8B8l/g4GfTNJ0GDso4DcxaboKNRlbEqpLG3J++E8jjaVp0vT291wKf9VAc175WvOsX8ao1eOdSS/4URmX4QrnFSnkoObXkeI0FacPSCn7EZbuXoh3MWZ7vax65jrC/Z1vx77SCeiJeGDBc9EQzugxKmX7H2myjrNrX8TLZ99BZfBvypzU5ipA+DmkcdyJdnOatIEZHeBPW+S4oAe8Mg41+eoaEzIohLZFMY6KT8ABGgCVcwQo77SkXbYhlKEhWLsYjwnr1iRkK6yH2giGpGpI1bb+zLd9hMyOSlxwJAm3F20hdz0o4UfU+3OiPW9LusvQGHhYr2/bKF0yJKwPl7gjP6prCFD5qj8DlAW3DpKcKvI9EnW1n5rCqb+70wHBWhN8JVyT4OUWxWLs1mmVEYOfDe36iZaMFsjoHC7Akq3fb1Ga0dglFxUjH59ScA9IazFqNJxm7myG/UeiXdnyHKDi5SuOQ9KC0CG+MQqCWOEUPD5OKZS23RRFp3E1XrwBdZRDb380aC1ZXGcOi/5nqoppIPJSR9mWS/Job7kquILZho9lJZd6J+LgfxiVltfukqSXf9w8ss0Kxi0lphcX40I5xCUs4ohKEOZVNguvTifOvmivgIcSOi5ZOXv7B2c966iEYBgl/Ga69rxAtNhUGQKltaJMGSckUuQsS/ZHm4kwaDyFYsNJi9oz83yQ4+yJFgYifNS+b3oRKOyqV2JDmoOTmu6yXyaUvRgM3qOAgEDlsk2RCyrNnVFqx9quvYeKuf9ytS0BXdpHrsIUVilRgH/QgyvEkfe/4sxXqo42Mm93Z5nqBjPwHo8rkPDior5MSPSPfSPBg+E5MpMhTD5vEijz3F6gNRBsP/qxBVaRHaRB2YcwoN14wfFH/YYEONnirhmr2LknkRLSXvjG7zqM0X5RRQIs6bE1OU9+07xBcrvJfNFVZ6986xes1pYvg70BkA+oGxj7j6wUj0Lj+n6DT0Jct4P80cVfaE6g5NwHEGAsSbmVb3QkRMCjR6Yb9XY6EwiuhTxfJR+bB5DzUUFaDKq/Ux3ATj336ryVk54MolksX8xkcqYxpjrTzbkCibBmxsSNsirl75VNmdg1j4+s2A9GUKSg4XY7QgTgdk0fFRsxybWWCUKiQfZdeaa70SWiaOvgqp9M6vLP6B/Z62dklDmr1fxp9EYWqj8bE7CVX/KRQpz6D31g/WcihsRfKOGEKRb5UXMKxANvr6LfXPQYMR0xF6CjuP5MziuTSo4R+Xw1sO9XXKhUvwXmgMc29WsXLV57gUTBWUtPG07eRO6njAM7kA+hohFtbe/4KyookMfKDryyh3WtQF9eCDmeNhO7KT5vnxT3LsAgOkI67gq9YCKL8ef3KdvUJKa0yFTxNOHaYqIzbVDJTx/G74tlOVLaEqse45WjWZvmaPRL8jYPyYo4EQeX4vKzHzFKBEuMGU+lbb8rCIBnPAqjriUGgq8PPcWpdw92ldmgp6OcBTr9n7r9pZJOBMabvHolwzSLXW6JHFBRO59ZruAz89vWr6WAcwVnVs5PiHEkxkSDPerweNjudxDPpnvoLxXHXT/3FF9Gb7Yo8tAaCW6iXfcz08Stjy8Vkp7FweGBW5Z+fgzZs1ZGPRuayRP2ZfCEDAfzBF8O0L78Ke5nwFIrRExFKiRAeyz1mej3J3tqhSFm20ViiT8LMbbS1/jwSV6zjRvdi3Mi7CXNc4qQLhqtNNAtkyfdeKd6xwacRi+VV91xXRdn0HPCEf3AfMA13ku2F3uvQzTii/g0ykfXsFX1pc4m+wEirY/CqReCqJe/n5zh5zF8WviKOJjcP83mzJ6Gd6N7628A1qJEprP24OqG9zv8R86UfA3iHgP883flVtPoh7mOwpWlMp3nHeXvrRZzUWpT/e41sibEaZFpzkPIRdGGTn7Nm5O0IWSHFvDo/NpDGF0hdUb4M+bcya9BBfgv260VRj5AIkpOHK5eykNdh5MGvYZCvTbqW5RtRsDKKKEepTOguCd0sjJAoZcYLdvUm7TrVgHglxk9R09o/wF6LQWc0fI1Myy8fhwtCwhRRgQ/THJ1r1WX1cJLWOi/PR92cLlQxl9jtFyUkzyuA3R68AwoHN1AZ0g+LF2v1vXvxf8AKqF1xh3c/T66AZ0SQPBZSY3RI/MR8ERn0LhwuO6HWV4yE4uDLvz69ojq/167RxtHWAcQG/fSvzf+osSwv15P7ZVjTRn06fDU20HsKkM81stZQ1wzzZIFCy0FcVZuOFL0dQ8vR4p8zmVcCHaYZk04FjXU3Nmeirz5o6wGoyHpYgqRpXx96jnuLt1SVlRZ7LBDGRsjT+YUlwuPSgk5aY3p5OoAK+1wScFvTUHckc8GSJQUfqaArn5JW7Q/htJazyfTeJ77riGanZIAgPeRLj6zXRUR5I5Akfm9VG2HwezcdT/plm71Bkp4CCBjOIo0b+5gaoeskNVjPT/cw8gdK2te9ecoovsre2genMNc6AxIylr8RBCwOOU/S9TtWR71WHQ5ddaYYPurUKsT3/m3NZjR8v6EET26EhX8xTtb42fiZXqM+6bp0FBKa6nNiawGGOmajSGfBNHxvIYrqaoZTDToQLL/qERMJCNwjJn+DF0JMaFjwePlaKqQ0cq3aqjx62KOTImQVkkTyUu9P2qTCUO+iTF2pmwRoAhUXFXp9TnyvUGDiuPopFiXOwlqgWO7s+IaTF6Tq82CBnDkJxZdi9Kf5l8NJAyrZcki253qAH9vntJApIYwEBJstf4RYusosfLhczSS4j4tr5MzrBYS0FVWoP7Si9y5Nky0EoAAbMtPgkg/oaR/HKDidHnRNuMiZwfw4hJhg4/V2R7wNR3uBowIZRBbMRTDQyw72ULNYTm+uLIL0DyqrmTNUGQmusZokLk0ojUb6WfUMPaH6hqELrqs4PArrMmTOh72pPr+cEc/lr6Q7Urmo2prsKVZSuz4rZDa/YEGDSy0+pWneH+hCr/QHAY/rEUlDt2UkLfcrOIMDN+WiiUiny1DEerDIvMbishDLGNEWgnPMJBF9RD3CNbiLnOM6r4JOBC+3dJ1YNKIBj8gdha8X1+MNXboHHeTEK966sbvXJr0y+3lQh1206WCku6Waqgr28zl7SH3mvCRSzUmwyONcPw+QuD3Jwepg0H7w8gCIPuRm2RU7yaQXzdMDhLCLC3JJFUe161FfqirBVhh3hyhIarkxQ5Yi/MAUZvmrm3WSln1AenNGwCtOa+fZpD2Qg2f3l0QNHYBcqFI9tMTzk6xfnY2mptcFdE7sDN0rnt6BxJuU9qwSaHBiz1RILTO6bhX5Z2uQwNV56R2KDefYnzMZ3tgEnhBRdvq6ElxLxHFW83bfxKBVmHmXi/bMG6NP4eGwMLDHHVjyewvMaK1dbq2Qs6NDnlzRe0gD25y4NL2cp45mJkpWd1X4Oi5211lZ1NemzOrzv/Ngv3VT0uDOkO+nO2BLexQNCd9GPH8RkAFACvpu+2Msbac2eL+VUkEXO3SqeUyEZNnZsuQf0Eg/OMMzxKxF3ll+KI4my9wyA1fJp3R2xkcN6PsrpAd4IG6wo+TBrHRU9qhvqWlkdwRW9Mi0pgaTpa4cjxbn5G57rUxnLbZYRYxeZEjzLVM/KMFczA3qQTxkkBYUXmlibBJCkUKIUF8aiKrCyprrUML8uNXSBfmK5MNwbENAiYZShYr/TJ4WGBeU+UBizzk5ssjzteFo77pIwjg9yDHn1pljcHbPic2Z8NBpvlSNSq6jmLxPDMebElupUEhZbgxgLY850EQEEssNtTc0nPl8iZiBONvEs37qhyD0aaBxQ2EZtFjkPzSq8vonZqXE98u5IirIOijUvvtb5R3/PceWQXCrmpUwYbjGub3m5PNPYJtYbmN6z3514YP0s+/05Wyc4456FGk70J25T7UNByrQazBUnqiIF7F+V0raTLJXcsc+WKVYQd2jdpmHvNDBIKZmPhUG+U3bjDhU3gXks/F1KvyE6HPyzfPF9iyT/TjEvSUvDl36iQrmCUozDcSsE3aEnLfEVeT4Ns+ovcnLZtMMtuPlY6H3Mi9V13560mK/nxnGFlKbNVwF2CgHpIS7gilg9EgC1c8Ut2CGwvLGgkLP+Ua2b9cNv5Gi0trUBnif/tG7C6KkAbHLRIEayQ4EUm0LD4FRS4OipJ3yL2Kk1QNhaMdrytMAIqR5ExFQvXf2+G1P/mxTuRrLxA0uWvvZfTbhc4JzvdqN/2lGuOjrV2QZ2anNIQuesweZQm8X+TWgTFyymem7/7UnMYESoq414F31R9ysCnmuNKhRkP6EIjEYkamI/7RhHKjg70rlV3q5IZeegLhvp1KD3NV5rxZgWwsyo4l2ms6n8GcNF+cyak7LRFg85iP9B63LTgzc86WlR7rlBboavYBLsxkVUHxDzoSoCwpDKnlgJRO/kO7QfMfcl1tusznGjC04acyiFCzDAFwYQWntdiX9hTlVHblmCPZLgDVOs9Q2PhUI15EDOTv2xZGsZ1+YO6nSIdPe70ZNoG5Kl2gh3moK+yjZLNmU67ubPkKdkjhZxtjpJYSva2H7o/fFrK4vAVBmutb4Y5fDhc503G85gYHavR6NLHfqY1UHtCjkxeqr/A+/mqSGyxDRnnWYMRK0/fwIQYfuiIng1QI8NVuHpcSQZkJtHQMh5LL+0G6wzmWahGY/cDqrakdajErG/zMGz/RN1Mz7HzwyggsJ5wiXqXMiJJKmnrGn5JsrTLW/es4AqJMd/7pTZHV2522owv2eXdCYtOj1z7LeqRp3tGenjGySt6iiL2Kbg7tF4sg7bVgWiYyn7Jn3pM2b0bNmoWIHcOUWl/Y6ET6QtQbbbx6mQwPa0wFY/v7dS9KNe+//lFuOcXSaXuFNTX2epzWwx32+SZgYULEDmolZT8wL5jq8Ua1YDI4mvPfoO7ERYDWPrjkk1J/RDORdwtxN0DeYadEcyc3hHCqlIQacaXEAxrSXeJ6FqbbmAJoDy3qFX33RaDhVxV6ZsLJUStRHgbRjNIFLwk20/DEv6nDAOBEChzKoKPbIyRCHz9I3WoFdTFndfjlb8ifjspYJjDTGPkxDbVrikobsPyFSlwqyyWGUyH9xu/vpb2PFUzQFK2iDUEgB4wa6qNWacvjHEK6alOaqC9ky/v4uyBh/aXnyoYpUe8GSaauJT9qX/k4cJGsnYg5us1nj8mFZ5DcsC/a8cMfGwUrXk/JjrAUbiG/KUIon8c8PrFgif1p9ve1SNXn4fSqeKrthkPcNtdo9/BOaHKBxpuV4ii8nOjBLW8jl46NH7pg3P8L5tJ9Nsyi+fEA50NaN48RrvQ1LgFBjbgKTwvFylzHkQKtZqVYvi3EzxQaOkJH3FU7HXqynXmqgCSzwhO3NXubY40uCSUGyfvf4MYefskeHTJ56T4cmS5Rw0Mj6/Px7wsYI1DbualE7crro4yi7A9zHQtSsfjw/UDJEtrNE2RgQIPuoflcA/5lWHif2F1XbtxyiVixgZfS7dJEdfT8eJvoO2PzGQ5S56S8mvquXI/evI3dEf5xUROB7T9+dY8a0/qnn4wdKadJMuEBbWycQQa9UKHoiCisyQfLReqt3bta1nUybGJ7ke5n+pbJGCFzWasl0USQLU467a8sudEoNATtzfyOsJWJ1i8STW9VoTcJMbD58oxmjONzYT16znb17JxFe3TkfxNAnzMy7hP/qdpvDpol3mGeDnM9Oi7TXM10xicHOBfGERvAjIbdvNiRAOfVmGo7br6pNOo+2XsXhB5xk3br2LcztgnWQKGuMajJlD2j4g9jg7A4Y0Iv2I7nNff83wkvto1vpUht2ep9lXYR9zGwUTnOvfT/LJ481WjN0MG8n0HY0EBcOac2sb/mY1PXKldqqO4JDUje6qXyKvLDCK+/sjrsrzEQwUEF+ejsBppLgUT7blfEUqPZ2+hI+ZgL49sOyzX9zwGivnqzJ5ZNaA3leen59Itl4FIvHg28w9LlUm21noU+eUtOgF/c/rkYm8WYVNakt2vi/W9uVeT2cm5FzlIhJBbzSz9kYVNTXOzd7SKywtLGq3DXRRg+e14COFKMpp27EU7fJcGBuC8vbKhFZDOiWnNmtsnJjCM9dAjhMtXegIRwHuY03CsFWb9LhESlEarqxFBJVfGwvFlHzXvs5DzATPYUeEUpczO6OuyW2XufpSvKZPHTtbwkHTGDhEaE04Eot67jzlrZCLMmqO4IZ5IuuLWnOzojARyOu7nDEJ1aGR+uNlI8GT0qqk1oo6WiIQCDPuB/W71Thm7XZyWk5acQjb37Gw4lkC2xe4SsoQw0KTMW6SPkrcOK0tyZ9bxPxi4YsR4UvULuTVUeBDRmFBNunaP93VsOXtaASWC40fHR8b3CCthsDnRhnH6JrIEzVPrxsLBg9/4Ya//3gc5CA/NxJuOYrjO/j4YdtlYYzTdznqBhROigjenHQ8Wn4Hi0Dd2DnFIaLyNd5b8vWx5tSdC0sWz32VSvzghtbTqcuaVVjps9C51osso8kFakfUDvEy5KfyIxx91ZsJSNhwvTfZFoDRdL8ONxtdQTdrWho16gCH2Iww0OGF/PtUOq01cQaugeBIM9AomeZoEXZcutsU6o0AvPCE0WPXG15/6v54ECm0spa6W591RfsJdhsmjSDoKYwfRk0smF+0JguKnRRK261lwTGxFbJjgUvje0ZhrHMAfrbVhVq0u1LbZlOWGQMIdJuM9a6fFyVeT/lG4AZpbaZENQ83VeYhAATgL1vobB5Cjbced8QrLVTJ2GY7ZAL9mzOVH2Bg0BCNTrno6G28Y7e8jQJH4P3LcTI6Ee3j09mi/Yb9BH9eoOPC5XemEcHhMXFpuuF757ATIxM/t339m3+bbafgXHsqyy+2EwhPGFYC5nU/S4JZT+zILJLQK/MFUoknz4qD8lbjc0eVWuN/46xl3FVyPVbjlGB7h1Ffw7ePPAZnCSMXLv6L/wOAu07nZXDxOeDu7jyoh6Bo2H252U+TCLXXL/jt3mdx6wGYCGM/F2ETMlQKy7n0GhlsX77Wm/DiJf+5Dr/nKNwvKmFDTnGmxEobb5/bGV6+z5+BbQIZPqnbwQh2PmTjzokHwE5sYAoc59koeTILLQtEr0PhPbPwfF8fmPh7+JSsJ0Z/lWb0m8yIYghKryH9oacZJh5hC+D1tj5yTNuvqXlCzu81jGGhAJx9GveHwA+nE9kyquWdgKSmPpR7hWDudUxEbU+HfGeGqXm2RL/FipoZpdOX02cZabpXw4Gd8Y5+5njY+83IA5htavaTT8eWA/zBclDBzjVTfuvGJGoHClV0vdGopwsKit4eyWr5T2xBfiUD1O19QE+RTHr4EiLW+jnNfTllmBJNW4aN5BiKloW+RWzY4ziToYO6/78PfCja4hWT//47tGXdSHqi2Q37kGfTp1W7AEhWt56PXNdIa+sjOCRAnmGUZ/UyQF+va7oto9b0HvAv+URHfEOjOlEtpGK7AiG7gITJ4BWQ7tCZZ/dOJ3RC6XEUdv6wfxR7yazMi23/rx5SGe3Lkb8qUKJjcgyoaaE3tcdsaaovarJM2+SwlDUhagw9v+y7909tfxDly2S+lOh0O+KTIdO73yWOvWUxkyk+7nfGaJArByoHobEr5aUJRqrXcRiynI8y4oycqkfSEqZ+X+v4zYdUMvk628jIRl0Mg2vZwVtnvuxB963mAGxUh7en3/f3g9tVM29GCrevK+0HcPdkjXSU6jriOLif/D4sIksqdSE6+WrJ2wEEXeJTWsS/8XQzF40BGgH5tUEI+ARLSBfg/5tHji7OytNt8MOBPpNT0RmjfrFv+DYqXaV0090ylpN3ESjAQhBNdD2WLGM10gCm+KElAAdhgj/8hC35Wa8XvWcll8div+ZOKIzjjKzxMR4jTllfODutJrcgibfbeF8DV9s+l0Fo0EFNCHCKkuBqViNb6lnf7TeuSkyT9sQFmXy4GNrHufSlNQSaRG7SGRG/q4efXidocMiy/PKxXw6Od7NbDWCIt8owq7Ur084OIZg8x+tR74wPU9/cGy4wVyFDYiTLlwLEWvwP0Iw8oE6fReLW356KFUK1/Vu9v9bArDEXSxpjZ9XmIWdC+yqGPx+Nuykcrvm4LZ9DSPbVNFyOCqdAtQ2T8iH7D0jmyfKa9wHhm+z73bOkO/v4GJMpRNY16jDIVkn+L5hjZ4QlXj59mOPjemLbps2C9XJ3XmzjLGW4B60UDrWN9xw67xd293mtLeO8FmpFSJgm4IiTgjOQ9OPQSlbANT36lXHP5uRH0XxjwIf0eP1t2vFcIAQH463CR9K1UquQoCX/VeWRlAy4NSxNF5b1tG3xSGvL+p+8Zkr/LtncNtk4oi1SFGmW8JcVDUOLgPR5NRjsKlTX23i9EFI5pKwCze5PvKLPq+YckffQk+5YHMiV3fnzdMmA5xsqr1zT08wviWSveVffm4A1UjneloGsiKdJhS/oRdUuICcAmCxL8xvRNNTbg3tQmXEf1WGNE80ec9pmbtnlMSjs0h2WJZ5YJ9noTC/3tvv4SNBp5WcJL68Zb2/fjebs0ybRGHUyrhBqec6hk4fSwi33xpLanUfVEYMwldJuIMukVcd8jRnXpVND5FrqAbVdagaxSogqbtf8FP97iLlno8QFdW89H3YGbI+TTcAPFYgic6O36WF0KHoaFCAO3Vcdifg9WhXF8UdFpbrsnm+/c3uC6A1aHsPPFTvGHa8NpGON/ObQDDmLHUUrSwDJ4sLH0TpFy4CmlJUwejzJHeunYMbzx+J3OWqUJ9RsRqRyZL39c1Ca47i0kmOXscUWB8G4cFKysTRLVXToNXGpiiFRpIpP0d0eJffn3hNU9uuVycHcKlF/lxEHhUJo9OU9C2MYXyQDWhmqOhiOFXXENiR2YjPqdu2WN5oiBaleKXsAISyLcLY5foi0HVPmbtNEapAVyRlsb50Edv+QnZab4OjdZIIf8dYApQ/GiNqDYsy9sq2tUr6clu6duBgdJ+ye6Pw3a4fgl2Dyk0LSoTmEn1PzPJ30MbJM6a88MiNonhZvvvNOiKuBtcS1gmhALB6uI5nzyBmgWBiMCmfgvpJ6TieLusX/vla76huRHpWobBrbz83gB7xyvHE+AL5RUUuzvx7D1OyYq9yOnLjM+NKd3V+fITyaoYglBMZMg1NK+GSu0lKlvLwhFthNddHQGXHICPyHanF1wyTSswJSikOzmajiageJ59LwkySVnkGjQwTUkPi4FWTAc6YMDIbLqb9uMgb+EQrM/iHLzLE21oML20Q/PVqPA2fJqcfibpz5NV3HF/9/+XLBs2xH3XhH/jZN7Ldz9vY4YkpUraDx71xcmqIYwOH9d44QA68U1cFcf0OTsksEgT9bIA6zvkYG9Yq/vDZ2nzVIOc9Hnm8WvWqjJVOv2Fg6nlApfKH4YS4YT2pBfAdwNnld2BPlYhyIHZwHtdSwn0hDg8d8Roy5LMr3EakFQRUU0nUplQdb6E67t06mwUQ27/DaYEEhjR41JCA2VDZ16ldzv/6gQmSO6ozNIbvdumTvsDy+8lV6vb7rngLXfCB9HpYWEMZFTWpLGoDkOiQWdilz+QuB1POAoUDRaJ2wY18SWlNFOJ9B4YdWz81fNrW4VAbX5Lf7NKcHhWs2PhB6jLESm96+s2iI70VRYik+ecyBvHhnjdTIzGFoA7kJRzxO7LxbrCq56Obb63g+qUT5u0+Qy0yUidi/TPTIYpa0aThpiPNryJNtLj7zKUsNeYnNYVz0xhh+SsEvhOcAsrIDl2FwzHqwuXlNhgFp3L+Qff/q/zO6l7GoFAiuRjza3oCaS0NagkCabQjSWiX9yE4ClTMhQczYELtXyryGCVYwoRcAKTf8NFc2+KRckkexFjeQGzLbLtupfntYKBcbDCFkk9yFI9LIFIa1uqz0lsb0E+B1Xy6xS5jAo/7KklXxHybL1afNr9pEYUXldlveI4esxr3uP+xx99XQ0kyj7NNYpWUDwyEeWXQN2UxGbs+3uqMjFH8UZ2ORGJ6jf11U+Yq9tycyzyd9JIZhKuu/EobMTU+Gc63eIXje3ft7GeAnlqA5otWJMhXdOa95Gkxsvbh3klHhdEGC7trA2BNPQRBKjvoUON9+NIXr/doaX1ZEt40ypyO6c37UDJhPoVV0bGbHCy7+45GzGo02iBmif99/5+ndoJrUruOW4DA6KvqoOC9g36ZfrC74LdTigHCK8lPLR3mEoBelvALGX3Bd829b307SmxznEop0rqTiXeepk4JaRz0OT4WyEOkE9zze5FDH6VTRmXYdKcZDND6FGdlTnhl2nuIE95Ov882AJr0gPpS40muuGzjsZTjsSMz+t3QD7eu7nvnThyfC6npHGeO6opSAmxHrii1sf9cdDQAjZHBXD3EyX07H5EO5Ez80Va+7waaeM0w6sNDS+XZb9EBXNe7jBrAu+ogE/G3LSt/SCMjrI7F1NjhGvSv7Jv9mDn9wflwrtb2/qm7WckTSTyQ5qgJzaawVzOlwm2CSK0UUC29TJJ+Bnv7OgyR5VIoPmUNAvvt4nCL0xVoU8HbIQzT9AYTzLFTQK4jK0Tfti4uT6bWH9Ma9nisuIdEkwhv0a1E49R4ZGRG5KFmY1KyjyNGHGzrKEvW1fbPBmQDbPhOBySy1mnsxyFDlobXIo9Se+xKjjjDu6OQeisEAZQB1Z2cWnU1hIzYoGqxlTmD2l9nJNpjNASngPzJZLmOd73RUppKPlQ80dY7omsQK+A8SpBs+F60yzKWwXM0MR+pzoIH75C0QRlLIjqcr5Nr5DaH8+shoOxh5/vbC7WtLP5cdl5a5v2zUNbkA4uushUZ3Ow1I+iYS8+AHNR7lRFjJGQqAwXNPRc6lvX7Alg14j3pJOP0UR8XcbElk4ODsgx9hZmOrHRv7dfyPfPWGM5de+TQGk6My3BgeZz1cfLzaNfsKcdShxQm6Shmp/Zq/3SOJuaIcEmyavUEe7R2WQEcCFrrHK64AL/CnSN8rSp9k6DGkESNDdXB6WZNr1nG3Es0arnUU1uys1Kx5DJAog5y/xO8YIU0Rz9kW+pB8FAaZaBbNoG21Y1feao6kl2R6ebiLk/sX1+M0KjwBBP4ZjHOD4diEq56797nY8b9qYkjMVGUaxs2MLITnCo5nAOTM9V0iaMwYPgd8gvWplDatzMSBfzu45+jfG0+1M+Ku7/EytAabXP4h1sI87zhev6X3cFD+Ialv1mR3HV9QLfT2sQPjnZEq9TlIRVsmq6O83e+Rv7FAl0IHVBFBCQ0N8zHMe42Xvi4TGOg3ZevPXvHFWMHl6uwf47A9FbvTAtt35J9NZHGEnJUgsokxvv+/qc6ZMQjmIuMfe1gDOuBqvXuPIXoVFhXS9EmWulzG5NJSV5lNkb9vI7k0LIQ++vEvs8ux5OFuTjPq2I/suQQznHpMWGJYUpcMyiZqNoP6NjbjrjbsBbvBPkRBvuRSAHkyJ5kegmS7cIF+74kNz2ACFz6z8fVqwfa+PUYFv9dksPBHCkyafU68cBn0mCfCPhsTbZalHIBuetGqnLFEgkIuDs9evXfSCCiS128mYia8MJ8+uWJ1Ovmw+ZySZRQM2ENhkaDpHpASQn/yz+OwgWrYC6qgCGCFCIOQjSg8K7N6yn1lI4o4fMvzetHyFPp+JF861yScZ8XqP8/Of+fpeG8KibtIKuHVkENLJMq8Ls7qY0/Nle5YPaj9vSEMMlzH9j5XQeWz+0/2APbP0VNt71buW33JP7rC4z/cK2jcVlmXJZJsacgIcz0MEDG2ARNLJXj+XruszNrBeWb72T4z2VHdtY5vgxeL5VKSJlCIrEfayhDfNJexWA11pKowFZEjjM4ObeklotgYnx3SxaUNaqcpMr/Uo4ckAmhXRyLetXDeORhevtjsycFqvyLT6WWSgcn6I5znmiYA21IuoommMG0JlyjCU2JtTPTFBmoOwAEx3ngXvJ/+fN/kHTKL6YVvr7L7eJxY5633wxrs7SCaxF/rjis11tzfj2Fj+pqoR9uE6P0XrqB9vz9nTlzsSstZxQN0yMkEzV/PiZnthkaiwVw1kMt0ShmITkqyo/ZEAlEevx2FEy9q0tnYGsyBVfZYriLH4Y8Zfr77JUEZs36LpLC2tkeTDIDujVgHE0/jtiGxFEsWXPly616Lv7AUQx67iLeOLkW3LRB71WROfM+FumnYSmf/QWgWxNFk+HfNfkBYyU4kU4Pa8B0FDSO37dEv21ONV8qJ6v4Uqgo2Hi9OcDVZLuA7zcPXDNOdYMTTObF74UBgFijNUCKmDGTwRsKZiSA4Q6giuim/1j3TyqJXw3Efqc8IHhv9O+1XpTmv+LZb3hDh7AvyFKkNoVAabrKtwQft/Ddvgg49enj9LubXEtpMRdoCkQzk+EQQx6xrHFfs3kakO0KMi9A6AvI+bl31FWPFYLjk9MUKYJ07FmCnDIQtBRaO1736XR1S+c1OApetg/11me2KUhR9Xx/XESktI5aDMHhncY7E4DxewINNsqeEwSUpoa5mflkVwEcBYGBhA8nufQTJZF81BgWOaeVSdMt7gUj+rOus3EdSp48+rL0MF7GhPyTsY0vIfzL9j+kSYTnjKQ0WMAZk3WBd9TBsAOTiAxq2z5TXlN/YdM9GGAYwsom9rHrmbPj/DLWKs0zxbUorZS6ON0p1xICOxghrEwfmYRteNdzv3Guwf7t0qbVKfYs6xZDpasxA0+HonGMR1hTLRS4RlC1sJq9VpiYuDE5LrW/lA3+bp+YW1660Qx8UhPVVfbQbiX1S8kIHOVYEON+KaUcMvzlhWCqZuV+bZ9JBrG+TEBlj7EwPA0qO2ObMGFKLdQrpHXRtqu4VTJ0udr1R8OXGB0l1Xljc76E7lRnmtYQa8qElep+WVy/iWPGuTF1oF4XpU7JC5EoCIX7/YS9XrLN5B7QgNF9y1j/IVywgIZow54G0YvTbwejnyP2SKgyYg8BjU5DzqbwujaojQBpTshO7NtuRqPY19QefNZBNBBsK52PZ1RiZ/kWJR8ax1a1V7ozCle8+NHUW+0nLb/glKHNYPsIckIC95E+gK+CIlXQpYJySQCqhhTeg2t+Rh8WcaiXWAep+WTaHJx60b3R6tPP2hVUB9bmFgmES3ioTefY9FIqgzp/1Bd5eVIlb4ySJlKsi7Ge3/M81ULJd1FIw8Fysc/zHMoJmTBQn/3dGcsQ+cGmlqGD6AcEOnkdpLHvL3RghzI1DIBFD1ufnuO377Q2+d9ZY030iyk6NzWvJtwQwFhSxEgzAt9jjolR60GD/86bZrOj3GO78hGdjThvqgBWmYqjlM1RHlDEW9EulD3X8YEeIk/d3aCOwgZWrBOSLBeuK4QxrtK20BZLss+ALypyhy1XV4OsM3i3DIxgvnmspePuclRwRKIme8yT6yN+6UqFOsdZMVDHCkPi10tfE3K5AkhB2hxvNFPPH8BGaYxEU2lXGbaBtxjqy1j/Dd/DmLJKB8Htf1xTLps+hM2abSRH4lDwYbfAhFNvinCigY537zl6HrqX1423oJcJJIb/Gl8DC7C9Ep2IaI4Mxq67IHa1b4ahtdelZjE7tlJwfRLsAbU+QAsPBu6ejoRTYa+rpZZD5mCzic0YTnaAGiD/DWcsXsjj8Zg8f2JAwd67uU5pq+FXpVoX1+YRrPRttg4/2WypcbUmEOMAk5rwz8TQ7zCAnPv4xkQBn1czGhicAOee34DBnTaRZ8ORRenGcEKOj6Vi0k8nKJWKkoApX9jQhc0S1JybL3FR5Tl5G1GJ6iPCUI11PFozMxEK/E9y3OWHIf8dMg1QJ1rgiXqDN1aDUKqzsdGSrliitI/y9Um7qvVQwlJdIlUhzQfGtQDqiHBBc46zEdD2eovtyhP19dDXJgXk+r2dBYoBpVRyszTELZukr/8A8XSW1yOurHnqLtkn+VruguH4xq9gCgcLX0V5JkwvQQboRGlQ9eS1ctFm9s9mNy6hm7HeubAX1AYy6bZ5xP01SkhkEBJ1JHUxCciztHy3L/bx/kELnGJjAfZCH8NuW0pIwbVrYD2ip3aiowJS/JQustMXeql72fP1TfsQbVfn5E6hWmU8CYJ4IPegYUVHEV43W3ax1m4g1e9UbW0JUpGyMccLi2FJ3uN4v08ZWLq4fhRVZIvrWbR1ap+aP6u+PJ1x5kYyZGtvZ141QpaSO3HPR5p9Xd9W80EvRL13XZL8Xr0M+9C7Vb4M5xWXxzRtogvYnVdpGFRptsjjrYQyrmIINq1ExBO8xNAUCvjlh21JvBsJz2urL6qIqZvAhtAUoDpeEWbfnZMA2bw2fMSxQq0+4BofgWNxpUZBJpaIHCaLkQldT/8jJaFJgKf/koMN9xe89oFM0VxEVnJ+ieA2NUv3YucWFv34MAUyUicWZgaRgsxGGGuyFUt3Wt8xmQFkmNU2qfS3J883qhIUbuBtBvJYCS1yTPY17mzoGOmg7xG/oNL2axYIqRZAb99zx9re+uc0aiQITsksyExIilRm5eo5l1RKPYiCwrVkJBwuaSsORBOYo+p/Q0GhGTE4D1Udfpw4tLohLl1qys95NyrMfhIQXL1atfGqvgiUkJtPXKIOHxj/GdQYNaDCkXhLZAEIivvhxrb9cbnm2ZaWD1GyMNO/ZDsrz3bD8Go7KnQJd819iyPsMLsPajrnkBKDbWU6TghJBROWfPJjQ/lm8SzZbbHlauli468r9YFwMvaeRYEQqZvs4f89Eu0TJ0aDCD0fkzkEywuGcHvKqt5Hs9pn1Gj5eaPbXiBtIUoP/o5HkMksRqZYmU/x4m8TCHSHEUxVK9g6Mwuc9WEykoPbAS3/VZrMoYsIr29I4CVXOXa57lTmzC0nn9e5onzgXGwxTqo4eEyIqDfxysS3HWzZcNCHh/sOk5mJ97WtPNkxVaWGHtQIxeLouIZ9lzEd78sjL85JLBviCq9vNj/c3W62S9qHbvr8TesmOzhxrNJ7HzLcfmc7g5TUxG6rYD6kfCYoljJmALhc3KulVOqApPbzENkUBy+CiG5mvvHTeCVJ6K5cpy9J6EUpKGjWYeangz3+U9WXluIPDcwzo3ednq4Id1Q11HuS5DPP9aUKIDTXzMwPwa+paBZJ7iEUtFRqHR5I4U7eSRGvu56melzMhkL62QM7ZSOSBKiA04Ca03wydWNauuM6LQ23X43O5IOJFxhfZ5C/ULhv8yJLvG0t0g1ef0OwRX6lAFpLXdm2LL7ZRFyqBZa/UYpPsVc5afIQ4Fpv0b6UseIyd/lEcNMiB8rGuAnSjY1Y9tq18JpdKASaPr1V379nMwWrNJOXFCT6jNpswFdM8W5rX0ppvPMPxo33zozY1TcCrRDxj8yYwOKU+GTJnkjikWhJOxKk2mDupt8znQJIk5o8yZz+W9JBsA744JYXeTheNW4itkBHevPJxMfFLZ/Ia5ItWW4ebNgtQyOxwbnHeZRTiq9ovzEeCUR/xQJY0njbS3iGQACOHLwpLm9UoapUP2u7TpvnQ0jyz56o37LymaqfK+7rZlQt4UxPKygwrznyaw3+suKJLaAG7x9WnLCtDjEs6icK+nbzxR/Hs6jnSpQP9HpWEI1jUEfu7WiKt71eh7CL0KY2C1CNHYuhKtHKo75Dpwm1GEOoVv3OSILuDjyHQgt4Yt2kwCPR69CpJ3eCjKVuoRmEuZ+FTo2Cr6FtiWYG8VkP5zgViv7Hfg2aNRsZfZjwaJiCRT5tBhttL79j/hCJfWRpE3QI40d5X425NW9l2baA99/38lkr5kxCnRcrUBkq5XEIZa1iyLYsutcbCsj6YF18XP/bAkdNZOYDLrPjD+Pd7k1TNTqEUZ2fJoe+/glshaAuWOK74YdkxFEcQzn6BYbTVrP5yw8RsBN0WTUZzCbP0secx8LBrlioGK16Vi/9PAnwyoyQkm2qyOz7A1/ZbgRQXq0BuePtKU/LcKJtK0VoN64gF16l6jpli3UocxGlbsGKEtswPGau7+EQYn+UV4bFxl1aurdJVHty9SNvn6k1IeiQFwDmRYjRVHt6OfCNiQwkYqCE9H+tDo5OSaeHuEweu+QSaFWdHgyvD6kf9uZA5W7jvpfAPWvx6ri8nCb5uLce2utOmbvppa7//fa0UxeupqASfCICgMyPQKVEWNmUaaRK0OimhPjvykG/xw4cwxFGL7TJHLhmYbp7o+gRqV6gPRpqrheP3p0YyR0J205Mr52tDTU1PAeGXJTkjnbrhZgQ5Arb+EqMvZku7jgQkrUazWLJdVEojDUDP3RI9DzQYi8DkB14fCa+w+U2Ak+H7WegEmxrj4wKGMR4JeN7XZ0ocS8vnu1jzjwSAwbFgd3qSlqsakUWkHOdN2PPnvAior6+P1y1FVOYQl0MqTyZwn6BzNKDx6TeNopF6fNSoOQDk/LvZgLFYpRGk8s8L2MIDFDwgXsmK1o53OZ/HQKyU+kfW2lSLPdNeAm2EXOFvvxyadP9o/U7Hh3sj4bmGH1wL2Z7kA2l5U9llEFO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sV8rwKvaS6/2EeGuNFci7PweU0U459d4qlGrmoefvb1HK7chl0IU0l5EPYjAAc/0l8Zsjgr5nOe0ngwATKBSwQRI58vAVSAxQ3e+qqVQLG1JGLzySaii2fC5NO8ZL1CWY1EsnN0xoEIj/KMvyHWLuefrb9p6OjDjK4yaunUZBFs5Jwe3SkgkUGXonlmIubQtfnSQS+uB7ftiX2TSDzY9J2OYOn5PZYvsU/Ldtd8GX4dUHpbhg10CMBohMNda9sbHx3+RXe6fmynUnOc0US5H9f6dGwhwqKq82pTU8rbeYQB7mICXkMxn1iIh6OshNp1+diGBmksQ/im4Wgx8un0Cm3lk3HZU7VOgn1KeUc08mo920awl7nEE7aYuydoBk7MWbLrzUnOUGlv6W9vrehNnpzlPmozERRhxqNNPAmAhShf9N39MTgAhcG3jq0m3Dqfb8xlx77UzJtsmTfvC/sChnuraYcOqJk7GpushSg+wzM99qqfbAyOsz/rsq2Vzc9yGtPeSmtpOMD23lTzutgPSwIRyLUNp4tZeCswbL8fUkoZ+nzZSjbRwdT5zTaoPUSe7hPeYVnfN3szYiPCB1BANHFDnQAGVzS/OMEIBpbuQqmZoxo8K7Ofc3M31AFuk7XdW0RCmwJgCI+06ShMKxH7hyUeHUf4A3vlfz/4f0oQTuogXx4fUYooNCx+HfapPiW16GvSgCDtET8S4/LhiuyRN7C2WCVEvvEPGeIuO+YH6R+spLvPbRv7cyCmcic6IYeFT0rW2Ax4mQ4wy4rDEnrftSZlS12bls6TBFnLsFVz/UeJMXidwxTz/038Ni3YbxlKAFBk0tWUaBQpgpt5+D6r3mFS25B0U/xewr16mzgiucPrxUvhMhySes31OeEVCRqPP+HsrRVW2wrRmcLS3EraJmdl9tuk02Uswo/G7r9vmNPw+6wu59yFBORBb81Vl9NHbOAYEXwLWJJCG/EHpRw+kX+vpvFTSTD9LKjd3ob33jASGmam2eIRVnPbJ54SmcnXq0rxPNpE7wz6hm+NxorxKOKIit7c2KQj/h/JR+VlQuiMQqYmOfqq6WYp+NhSor9J4bex8elwb2lOmR+mOtuSN0l8jG7FXk38QgnuohKZsZpgshKNBoHFSDY313KdJzPypOCYm9zzraiz4bFQ+Gje1AjZZ9eb0+vJPftT1ht+NsWXO7kZBbF2NSSLT4b4YyA3KwOi5ciosaX0jqOEKx4xncI2v8Nk+BX5pXgg+21eX+wtZXeeHbsMyZth/2fIagdxL2VOgIPm+VrNq6AL5RFxsLis2U2E4y4i+pcDcASyYhP8iHLLoIbyuZswV0WASC83KprRj29N7PQ635u0RPXleEimp3bVhVd7WU+1MJlmGspeUpd+Kj8EIFSLXq8NcLCDKiLTLp9yxSvnrmq3ZTH0CzBZD6kkz7WmNra63BPA8LunUJvSRxGAXyixb32S/1v0W9z+kYOMEfU6vjfFolcQjwf1p9wAc0H1wUMMUwqCvSQKePx71JfkIZAN/cRikPfgRrDgolsaPTXEcoFMk40AkYf5lYZLPD2hYsNb3vMAHczhhaE/IHu6VMLttkN5nMngFuhWqeglDu33QQlhTYcJFv3RRphq7s3H4RmUXVIq11lAMqX6QS5NYMyd0/E2UBL0v6LhikEQvYJ9omtYFjWEQnGrk7bcAhsc7kOWjkReng35aUhPAOE7f61aOG/EiZ4Khbmu3JAiyPn9kvHbJ0ZYsFBm3MRfXL7bJFh3ZEmDsH2HaFhWmrQiu6ziVOPVxD5l00SU2OEWm8Z8iJQ+nm8jxlU2IWPa2DJtDWaVOHjQTS5B8fTnY8o2t6V0QxvWM6MDl5eqtdokbZ5WbfTouvc4FyeevlTpEY4w2Y+Uc6i74hEv2pQTgQiQX3Vf5e+kZ4oVpE6zK/CwW8APlN6+7Ow12HaiUcA8bjG4cFdo5dw0SFQC55cxPyFylWQsM6Ecjy1IakIOnTB5YL5BY4XXMnVLmSFyWvZOTZcNc1mk1fIyjUyHHbJIwpt7amaWOfr4eRL7CwYOnX/BFBqLckXV0TS2ud7gbTZz7thGcn00ZxadUUhm/OoA5CGH1gCvTws/gZO+OKrbFhIcW+6bbYLU0k0nMexN8MJZKBTnZ1YZaYp/owyI4IulJNbCF9A4/FPK0zqoEbNsySukx+3kzw8Zm66yKxSWAY9uCa0YwXcvf6q8KJi6YHZg0+GwTmDo1tHhKj5qxwa760FwuBGbHOtlRFcrY2l4QpuIfsULuqydZ7m78fWm4x5arKDAIZxKkfsQWkYNrvtf25Ubm7j5a0jw2UtOgTGqsXhmIEqlKoRW5DAko7X0K+umbbsTdTCJXkYH3CUKrSesPyu8HqQmx7DU3hHX4HAE9GxfsUYK7/h6IdUndQZs0v1k5U1oL+nQvcbRmGuNeySoWdqRuQ71/uOIfQRuCyNy++2Z/OSTkMyIJ6/45K4oT3QR0U1dObG+EyKXnPNklAIWUG6LxRfqJw7fEzcSd6mMjq1W3cqVPXTPUcXxGs8ZHJNGEzlxGRY/1ahZjHfRMJCq87KqOqFdWCEa5qkoTY/l8PFfOp+uLC8ujtvSS19Lep/8tBSBDivyAs4iGfQ3H/UOagGFoPiOsFAGOiJiXgpX0bHrfNhNI6OcEI98ID4Qv/MJIOSJN736JPE3ZCrlA3qeAzd47mKGr4mu8vHGZecQ0bDl+3ZfIsnHPMT0hBvFbWzRSCsvJul2Neg/X3/g4NmSLJe8ngIJwcUGH01Pv7DEbAafxeIuzAu34oSsYedn3gGbWlKpgnJ1Pu7ZuructYklmJp2gMhJTPqa/6IraG4P7HviqJr7kdjqV+HDY8ymU3kjYtV8k36o34T5wNfbwBFUy/lmMug4HR9/LRKmAHj6bkj6nZ6oYr8nzhHonUrcDZt9kKoKHk9NLZbaqifZpZxvJC2yJRUTDOvub4O73kKeQto3pV7o4Qjd+UE9hLnwzKDC6L3JB9wAcIzlxeZmtrgraprAAJ8G4xAL/Rnl1rDJLtLBSnurEnjqBlgol0jHSiAypz+HwkngUKd3ek4D6rBR9m1TlRR0xYA9VtSDF6Hf1wr5PsoxdKQEReqJt86fVeL5xmGI7iAGHQKPnkhxjGDJgQSbTY2W93qJZC+GyAILSro++dxzeMivAajFlxrCZIn/WrTVWev0eTLxWfuR6JjYhngQ8LYOtafHmQ6gjJ9l6CDHPSfb1/oCkhd6OoXwvSFtImAcRtt6EoMAdgwBVwxpxtqYuGT751V/Xv3rDHWnP5wRc3rYnDyfr5XOkdN7+pPI0cROKSFQKlGQIuroCxFVjiMoAVp/kv3Wj0iqR3LRSH53x9X1dBJb73OHM2tWg3R6DqMI/4/Sm0d9SrIb6P2DOKiGZNFC/mQ+j1j868O0Li9tp1YnU/5WJbpAUj5tSybfWlaVcpeoWoBA02zcz3L69Gn3MPGRswbFwMgpdFvAA/kPG4cFYdW6FTf6WEWKexGp/CQyWON+fCm9zWJ/Qi7bgMY+V1y6PNE5gOWURSTAZed8D1NgiwJ9sRCwWYLWPoZWCsZJgi3mtbul1+GaZ+Z+nhV5jxgCLx+f9jzW4dNk/5F/L25o9pGAKEqQDHhmr6jyIoQRIOoxL67zqeYcNwfA3/t3hKZxwTF9NoVGZC3WP7/lwYXN46GckWy4AvYJQ54ye91dB+O/inr/9U3PzyVKpqo7FBXcBiY/tzvVs11+0ME+GL4YS2sJB41mHRPSVGQULGQLQ8GVpzculvTzq7+pEEe3yMjwIwAf9UrpqKVZjM9Rjay4ZwdZBVD6ATeTTtGf+eEQa+7+ntZCKCuehOaMkj/iRD/b1TruxWOmyW08t79NsQ0Qn99tebxA3E4qQvzg5WkYnp/F4xCfzWDGH4LrLTeYvLCaLM+0Orce13BYgLUaoZ6m7AewLEF2qNi1bsd3LqcwamXd1qjXm6fHMJV5CoA15Bw8+34KBaBUXbWW3i8yk0lGuL2+Dj9fiXpq5lhgMes7Qz0DfgLGDYYaPrj8O0uZ5aJ46fE5uTZ1H/UlcmU68LTytYoMQrKfstf6r6ph9gESaEXfwosd7hymUZB/YUIgLO4hU/svScoeCXm8w2cQh+2tA6GvAsaTr+2R34WoBv+8heOzVwgSUH2Jjs5/9H4fL/YRyHhrc9VA5uys8BhrdgOsp2blXTToso/eT0opcW5JBSNDUv702wcBZLqeCjNKWu/nOGKFUIZohQ+6Ok3Cd3kgebcvGcKAr4Px0bXbuSnkxBme6k2vaohPvivMkpFF0egURCs+hmEFUlJpG++LR2lWW6ZGmZy0S8Y+37OMg/XNUJV6nVRJCyTSNz055t2qbdSD2TjI16da/ZeZOaSqElUW33pve8Pqqr7x0A5mN6tr/6VdfvH2R6TdPffrR8IMaIKllEaEYzQ92/3HtaU+3r7phG4pEDIU+PUXWJUlb5Q3Z/rQTPIL12JnR9dqpcUqwqgbVo1Q+sDZPeh3XTD7Q48IQB1rbIt/Y3Dnxynu9NV71wwPK9pkIsNYQaQlDxBlD3F64mD0TqNR4byvF1eGnNwWjylA2aokc/eAW1LoOQSD309/i32q0SKlm2RVZJTU0U2rkRgMspF5t693pH47FMI3PW+Od6peia3gsDAPYJDjGKr8m4oE5aH/yiVijb9GIOL+fa+/22vx7gVyhH1+8I7L2BjikaAsG3j4Z/q0s8HCz9ZJAjgMnoj2Gnu/M/QRqJSl+0z4nMoleRFrKMcAQgQ+mrrUvUxOT0vnCZ0Pn0nbV2ipZOFlz06TaNYYANT9Bvtbj1ucKp2G4UpYra+mvrm0T/6JQaItsQrih2x/Wt56YebV08ADTNfOchuOhFEJr1ZT6e/QWMfmJ0frGCAL3hY3bdP7PUxY8J/QYqz4G0nMhtkyLB8zS837ReVbpZth4CVZLgrIQSUJtMEmP20QYF7jDwkqjyQ22uQ6of01QB4GZxL15C2/T0thjaplLNiEk+UHhxnAnLRQb5Y5leGBlCvi2Mo+4yL8hQZsgHWuPxuQax23AhsSL5kYlaze0+YYPQcORytUhBqiddoc67ObmIcYG+Sgk3RXxIaSHitaVYDgx0caDRbkuiTzXMoMP7RnfMxaiXxW8bq+zNsujWBjS1410yxfoAHhYgsxrRNy40gkZoWlEoi5p+szhmkyVq1omolX4IC8eobLOJv269ghjfxBCL4rRttm0+KZN6Mg+HPV/nTCBMeZVdjeUhcIAsFyrYKKgwZFXZXOTR3Z5X1nl//dCcdtSXCGH7qlyVR4WSfOzP2Hq9PN5spCqz54ztyafDQxlRpoAW68ZG/Q5klZiC8Z1OKMCZ4Y8jNgxAkaKCY15snnS2fqR2XSQd3n7+7AiwI5k7vAjfegD1hTBZ26U5zQXyWcdNfptKjvPitrZM7k1j6LjB6JRZkOCyFFdB5GkrD2wd/Zb31TJlLiWVINvAyJLsSVig204cW7NWKJiiVb5WUU9UMg8L61zTrhhmLATn3XpGN04lKNm7hD80D0TcegfM5xnR7XTCaMb9mQFrhplVP2DNRDZ9A7bIgJaMIvZquQPbTCAeHqMBz3hUOEnMkIYpB7KQTJDnOYjC07iIaWOAWqB/cGzrrBMwHtmELBMy8QdMRwl9CtZCkQt1wb5Q4OCsSmGcpOH/g4eKb7Nim9eSw+KOqKdP410CSQVkNyKT8hnK2dkHxtIeQmtcMcqnN4TU1JmJtT23jsiqOwOvB0hznOYhJaft+qldcv8yjHRX59NlUoEmy/dB0EC+0W4vc6MZnAm/UH+2wMNYy9IeluadzX+cnDFKBE+UBdlbTj/LiqvnX/Z3j2h8BAlS1yaGToxZT0NYWZ1thLWjalo5Ywghn6uusrCMPy+u2atQ5S93O5uqpj9iwvFX/fMEMchJd8Zh4E/ciCXQp2SwonHZhnSXgQXvjvWjkqIYKtqehx/WrClNe/wL02eC0nr4CAmGswPAbstt9ZtfLhUG1HEZ/WzN7WerLbS5uv2i+KiBWXzWnjcYib3EQYvmeh1tYwu4LSjp8LkWnIl89RJ2VRMPpX11VjT326BK2AYNut7mUhK4a5NeUmhJYu53IuKgAjTUodVnz2qyPPD6Jpu528k7nG3dcKqzeKsHQelcCIAYwdQTQr2XcZujG8dIXGhIswNGxMKHBWE1FUjUX5o2PqFb4bKkc7HeBa3urD5ZDxmGLFOFAKrKdzhQmyNpE3i9/CR8TCl5KrupKUDYxx9dGHQLwip537Rykh0Xjn1hQ1BqFMG4qXTNdeVvhp99pHYGnksJEZgga6ykwI6mR1C/jJaPxxfcPgjOPdG8SpgS3cIFpUQshIuFjJTXHDZmy/oaVRf/wNp3IZOw72b181ZBaLPtAxpLMQZl6LEvgeH5YhvXIkNVYd/ufDGsADNcYTw7Rs6GwwVArGlmvdbxslaOVbywqpXcO0lfWG/ORdimYCCb0S7ouzFzsZlsIGPmv9CPJ5mn42HFy6E9vHF/HqlYCRky5Ngt34UMPIHbExjzJ4B6m+i1iqwhQ6j+yDW+yXJsneOeQRVPSsfTZgGWQnAVTb/ze/wb6CW66W5PRQSpoxUhZydua8wLSFIqD3xuqMumoLjwuepmcTAMDC6WqxQ0h8hq2PFBmT+pVRmTP4YbA9ohqkJZ2QL1EFg+F4R+CMRw5iHHYbXOWvnwv25bghUioZM40pbCXOn5du3XWQDuO0crvA10WRkf5z6cJfMGnJKB7i6cy9fZ691nxV0xPA2aZ9WSXu80Osv+MEzFeVjVpTo+9QDZ0blAuKSywuQXHoSdX79cFGjb+a48j1uIIryQ9FsA4peETDVtTDx60/BKi9HzhHgPClsW1JBZxmBdtYAQDSiVAs6jrbHUT7UYu0g/GyKFKeQc+iW7RZ5JL199wRSnaZanqNG5MZqPYO8LAUs9Ka63dO9GfgNGX3hJaCOv6x69R2wgPiW7DVPXhDH/kwFxodKOG+Di67IskSlsA1EsEclJzo2AjYxzE9LtOjpH+NfjWXHkm1bYzH9UKWf7EdXW5yUK/v77cezxZHuXW+PjLMYzUjBJDrZTZbtaHibJ8e8jmP/O9VNrA66c9N83aESUSHPKB0t/MKYQMqSYfkiNX9Cxq/e70VKLbTOESEg6Ukpr9gj47IYRRPITmjAY4gbSV9mxBDlwmv5HKxTFKiYyClwy/45efwdCK1/W+YfqRWlMthfjNqXWwe/JxHLsJJbPfH7OpOAqXvjLyjMeTM3xlq0qUCwdUvbOZOIG1dMFQuTGgFKMn97WFSvJQz6dKUUVNexA9WqrYaUsPSum1cxsFFPKrgXh2UhPpDeGy1KHsKA6ypmKes0c1/IudSEIw3OnchE6BisrnnXNdCZBZDyMRVtb0ucxdFpdj6asvvhBUGQupc2T28I4mL5Sn781BqgnDIkKPr7v7M73ytRjuP1D9RH+4R203Uh+jSFW/UoCAOMB3wDyKiXj9GbpBdw+RHwKY5+OvACEJDUphXk5j8phglBD1mytTW6GGY0UvtGsdavPk2KUXQB0IFvABANC5JhOa2N5BIsFpX+ioubWGFHph7wsKxyJp+gv3Cia8gFzwP9MWi6Grgk3ug4NgJPfDj9lKVl15+EPRUJ6SYJPfGu2xEGq7ueqV4DZlTGsrPVrMKiWlC+uMXx0XHGsjjqG1YjBZA8TwSj0uGR4Q1vAAIx0n/bgmlDSB6AHMNKwJ2yzUOM8u7sGrTQt5TrnEz82zUwP29OujJOBBaPNDMtC+6arBKRWJO4Q0C4kbKVrlWYZr/Isef14sZlBY1etAbJMq7PX0Aer8Z//v3rsDLc8TKAZVL6qmKpQp55vv4kjSMG4eUvyTePJWfzo+hyCVdumu8pQMTFxUUYENcp3xZdUkNKvkXfo67w7c+lXtpc3fpq+LpxmDPo8vtCVuD16FkqoljSWFPs3x4u8COfuxnmvxupDShj9CB5HhTm4FFjpruf8RXixPv7fFkKOKbF5HRisTnaxvK7wEt6lTJ8ArVhzx8ny660zMcDhDSGdP26xuqMrwCATwopcFG3i26BqNRPjgu52IZCjl4Qe12Meala6wZKv1T1LenXxRPeNhhWZ1zrhsEn2zdCzRd168IDQYeajiXgxDCF2pxw2EcSrITZTRW6e7aZutJJK15ciaiEZElYU4eoQy9lvVXQeOskPWOgo7ktXo8YpKqFpd/FCsIMfKA8viiWaxEdJdakybiRCXY3bb9e2Zes/3sXcif6iTpxaukBTmP1Z2Ftixr2S430hX8f3l+8qx5Di1ZP9xKt2gq4n5ai83hNXJxCxXxjd/Hu+696Y9Rlf6e2pqH7Ws9YqZDv/u/fBAUzJuPzlI5laHdE2q5OZcn9XMhL0OVyC+kp60XvUUqGmfZkb4QNA7XK/NayTniVvo1v7qW8N+YbenGirY9EeXtCnYTPoSTB6fdZt2eQqMegBOR1+yee+etjYn3bNEILQIARXMaF+nL7YAL0xI8Kt7P+rdU02ZYQxlVELGiv4glvUiiYXXlMr5wJS0VkJIsBOcrXYFqpuruZAOqqG/YAFuq8c0sLVGz/K+ApTs8/6HQHit3VNXQSXs8I93luiaTsR1K77hdM6jpeyQm7pJYVVXrYUDVQuX6Hn7/tzlDExZTZ/BPA8GHG0g+r1WroIPMvalUR5uO3aEB6P9udc6K4Qqk7Yf/pySZp6aU82pQaOmPkOsPM5I2tmksxHVqTanuaHJ9l8wvGaMEBrNewiNDIg1va7kHYFu5Mgb+Yl+PWivPylRQIrnidJ3Rx7KNtlNw/BjcwQT6MbGa2JvW8rnRdRJ1uttPCaOu0XWVBHw6m/QIs4n+yVO8tM6wAyUl0GtjWe1Cvd5A1YkhZD/lpC1AX6HdKIh98F2mV3KLOaauGirQUVjo7ohyVh/NHGe04dKOXXqvPmRs0qbNGLhAza7bfvO4wGhzFrlU1v4NPH044sSPw1R3Q1Is37bgx05qrqFvs76NDYnoh/h5NuMTiBwElKLKCpi9G1MHiWZ3bE7l7nRUqqBPcaTTjSOO85ePiGCITMS9J7OhnO09zGc7xmvXUbt+nURvNiGqkpF0wD81mLWfCmelJ3TC4LdMgumXaoVANDMEjN7pdhwuD0rL8lR/x9H/xif4SrqGCFMrp0JQh/GRaOc0jnC+wm57xl8LaerX1w9u9IkQqB6VMV4MkGaRFIVG1rRxQ7cUoVaZQbL5pLcPk5PIVipxfrH2LiVnFoVTylxhmDQrzuzVCmBpuJ51aFl40+yfESXHkc7BsV80M7HfqIZCu7PrXViE7xJmCI2I83dMB13AYVFMzPQ32iOhl05lcnNZYfyB7YIzySDzuNBGQf4tN1bsJpWO6xaHdlxb4HToHXb7g4v2dq8D3cCiqyknHu7dZmawZzZgsQFS0lH8mAhdQUsl7ZlFI+WEj52esVSN+hNCOi208OLMbNms76AJmAsXPHIuIraoUUeEKi0rJbZVGqYGOlIns0tCf46ohcwPZ7ldKNs8GM7AgrF3hID7c3+uUuuI4dhaFa8FFIcD5Ll7C6smwaRsLnAlGkyVBgSVuQu/r+7jjMT9Dw5L9AKE6OdDdXkfWF53jKUI8OsbarV96cV4eDg6czhsxJs8Ak4L3uiH9gxde9kEJonHq5q5SZ/JAFfzGd/iMtn4++i+5xPrA/SRC34v+r3xj1ivKYqhfGcA9T7RM6vNhUS2NECjJLvpaUfgVwURflMb5ywl4XAnciqiL/WA8rRj5bo7Eu+kvYQiq6qFrojFE7ZV6kvEc9bWP0GZogpg0bmWA7odgul2Mo06hwt47Pl8UiU6V4RI3/UWocko4068jF+jhdTO3YlKrjOJ6+BMKH+YXdDCj+vHv2BzY2LwT651EqvBx5GmDNw1QvtvsYCkNbdYe95pV1SosU/eEOVHCzr//E1rzMF6ddueMRcM2FEY+Kn9eZHcmETM1Ji+QFQslIrjK0duqhQLWKu8HinUII1k2OTYJ5umKvrJrX13gdi+ccZYZhiRr9/R+5Yr0q+L09AM+LI1TyPXUOqk9ufSzUUDgkgEPB3nL/jb/ZRsVlvqxVSJHw/KNxKpc2y3+lRZSeFuQiI7OFdgQevLcuyq3jXBi12vDCW23XnEQp8v74cgYKZQr2YP9C/HMYjxKC8COv6HwYEhRGMJO0bCIbh2LpFTPDPnQjQA5GfTaaLEXgQXF75m/ymS3uDSu6s5y+Q66/JaanoCc4VKDy81apOyfzPimddco5cfN8lIkcbed1p7M9OOqZ9MV1ERjF8Qbr6BfiMF0dq4QEeng5twxrg76VdauuFQvMZe0xlpaoaxI+soK+GKdGvdSzyOlraO+gRpm/F4wuVYJN4+/2dUj2rwVIZwTi0WIwjU5ZslKXhLK1c8j6Pv1jIB7ywfIJQS3dmbb0Go3eRGzhsxFUKWuLXLBvQhf1KYE5JDZ9Z30kg8iVLQk+1CO6sapNd8ESfy7CfpC1CO6ygPsHkc7vIsmirHUiPhROGj+PHY9Eov+DWtphBqEqfwnfMc6lVDa50SjIlgrLqvUhjgLQDLHMBGkVmHVvA/KCBSLMeC8Or9vh3nbCT3J198EvfLpLS/R555XcK0tz4oMUJW4lc/CQVpnjKDnahVQn+Fyg/CCubL+KKIBmqgMKVKJtAK3DlYV+9EoePDvNTSrnNAxG2SWcDmic4ZOooTykQzK22mgt97KFQf2eO+EQrPSaxe2aGlTdiyPbO3Xsi99EQ7mPkpd6CS0dShjccfvr0BtdTeYc1uZ218d2ibOO8gxoA4DrwTg2s9gFpCPU4LU83R/c1XO60hhgRfmw8boUFhRqNFYzgv2806Nx18xk/3ofR/UJNRsifkQd4rDHGXV57FXkJXbK+cQe1s6iJPxhmr7+1pfz3G0zrS3uwtIcAhXlOGJXWiHnn4ZxyygmPlMFhhDKTZtYOmMbWafnsYYp8HjhKLMOVjlXTosHg+hMmDxV7PXRRnls6EgI7oNrQxSqaaD/CZQJ+2FhTK43UGqvv4OrtzYgrtYlNm97rVsVjx8LJARYPTXIBA8f8XiTOiJkZC9afGPvPfTNWanPENWFDKUSTZKCS52trqiN7mhvIoO3NTRObamT/FAn2ekgrzOO0uP0S671gJkULpOVVgsK5EJwZjm75rc8QVMcKrR+tPpHNuM69t3imAEKCtlKv2E9sAifzICMJSNhWEHtq8LrzqvwdPzjgEeev9pyNLUU3V+oC4EKd7tLmq7tRO39CQL0KVg3gdXecRSnoQC/aGlEAQU9lG/MM4U3ccFWd4zxsRU0DEpjkClPZRzOfqrwc2ZbkxXTODuh+NKYxi/Qbfdm6FuMwWIglF/M3BDwhkac/ilV0ZVeVhJVKGYP1gn1VyPD+6XYja6LC8f4hQ+LZMU2nWaXv2nRiYrNnSj5su0P8F2HWPM4m9YmyporBi7G0zza6KLX1dr2X7tHjmM/TeMdxHgv4Qd8kB0CdTGdqUF0tiG4mqy1B/O8XAzRrv8Lq6D71IpghsrnX+BhP83svFNutbADS86yRQk7uSCkJFMLqK6SKqhZ54/njjRIE4WdzV/Txm5UDQVC4akFIZSgK1tRQFyTb3/ioIahmdDRxsCbG+ow4jpIunza5xvI7KrlAivffnitYRuMzWgPSVn5IMnn0gv4zWYfLlvQveCpnXd2UKqO0zWX6cu4m3UyBZz8b0Ek1nrSRcjiFg0GFTKwF+O7L82cCy9PrRJhlrkrnqRDyNU3P9uusoYJrozwheVkH9BhZHZo9EWmagteKJHuFTqqPrIoq5n/goXJamta4Dc+5DfpeDZK8C1X93zrGZk94jQED6KpxznXjaeyOUXZ6MafJUsiTivy3i0E2ZT7rdKfnuR1yQ8HUqWpqcvgEsrbsompfc25jQDKrtIoJ0NZrLcKIsVtQgO2jhVeyXVVc/7F0HyLXxW458hDdXRKMJjbca1SV5KZk9Wyzj7vD6DfKiPX9F6TWC4xIxObp3/T0gpmEHgMkbFv51HY+hY2hUa/mP4pd+sFkvAn5JIXL9X24wMpnSYX0BmcgfKBcV/IvZPXjuO32mUegHQPSIN2WDC4EcqKmqmnSojxrmY8giEYKczYHJJEgw9fqWXoCSz5DYDGnW8HwgQ8qCzRa2txvDS5Sslxqh53hv3sEPLm6Lfg7DXpyaddbF1i62AJskG1WpgFogac7lmyLeyDLNcwFwb84EDyTTAY7j+k1vJ/8RiwTv2JccC1GiaqR0mtrugRs7FZl1HPOTaEgGDo+zsLP3Pel/vWWBVbx+vX5/oEsdkJCWFaEC1tpIxXnJg0H3XoFfuaE7oZGZCRY0knJqH6SKeuhR4VzW8gcifmsteauMHiVEPwrMEl3LIadv4c+SVKmnd61raZvwUw3GijZiqXsVTOwrgg3Ae2c2PT2u/TZ3oQW40kK90jEW/C3X3cPnWs2rriLWfq4HyFhdFfB5IzvA/U+KXQtP/aTtBlZSVq9Ww5/4KitcUnQrz8Jh2muUHjAWR896O0cXQrdFFDXzLgP1s9HzTuMtoGcI657mIc9nI8zdVbB1cmS8uSSCsIRMtWD/NtKGuk8+buC0dODXWISAVp31WodaPMrsxbKH3AAe48Z2JNd36z7aP21oPzHa2UxjBVdDPOiBenueoa+PwddCVfqT/WdoXozlzd2sQksQF34VtRS8/E5nxYG3I18Ks1ylAWgoUz82oQbZLvkvqg9+GZHEWPJzyHv56Q8yTm+P65PlqDSy1AJWo7M5wwhOCIwhyMAvXTP1hSbuAtbX4QOZXTPwQbxKiYlOCFSZ8TPGxZ+q+B2sgwwmHJib8/aNmG/01/CGXCoyKo/ty92F2y27otapyXV2rRaCA/Dgj1Nn6cmyiCX0sjNdyEez1mDAxjzIEUsoNKpA+Pk1ZFuWr/Q2ayJQHEOkAOMrMAR1+s6RQaVEHNoZeC/r4StwjTmUMvbYJdokN91GmXSU1R6qXBY5DFoosvkJcjo1bhT006Y2UsVO4gVBywZ3m9Jh4BvdVZPqxep2TipngzPMQg+hfeFgXUT8cjk7oY5JMBYTWHAiJOrCv1Mf22mHcUzNs1KlYdfTkmaxmpJq0PWCMVuIikGygPCdNMHo3OJ5TURxcvBVYuYB5yF5Hk2obYrufnTet/QvURA/XB0G/S2Ltyr6lkksYPgkSMDkjXD/yHVrz6OXZyYqmDXREL47t29VIXck3ryXSQxhhBM+eexGmBs9+gyND3H5h8P0y9ksUFzer5GrcC+pgBJacNeYK+BW88Zpmb5RIb9e7MH7mKc9vD/4nMF4ZF4ZKCYBh4PSQJMhx5T0sDStpS//oq0vn9Rq82KRY1MEOGp0+wKL71R5TKfpsFqKAQWMPCpP/Y56jw+G4vKr7cOIJk7VBHhB5t8FHIs/3lptHM09VCgwj1YQsLkSEvN4dLZsXDxOlFaZn0zqcbrxu/Gh7zKsvAbjpRE+qH3UrfX78iOKPztLBYYkT+sEm4Hv1r969UxR3W8hsu6HdRndIe+MzQV/rUiioPDdhcavUTJLLJq0rlhfZY9DMhHBIz+xkDp0o0fOMoqaomlv35HOhVmAjWqM/A6UUxdneKvYbjEz6MxrLlKYbL4+C/UHPJJf291rST+hXgUu2O6cuJh2fo/bhokz8HmO/q+JrG+Mq3qiO+jM4cPGPD9w4wKg3bzwI9zBTn/PN4OJSfldkX+xKb08PIELPH3F3haYjhADjPnxHM7SV3RiVVVxP5+zKX8rVswODVkZHgYF5Cq5u2Q3OiNQNvdB9mdXOE8EsbUgq3cQtKRRPmxhD5aY4GK9doa7NGLsR6l5HJe5Or/H7aZxG6bZaTG+ZY3JztOHrMbuHtSYWb5aw/wiazDh3jIeP9yvkU3cHAWr7cjoBgz2aPUj7UZvmurxqzSG6oF5yVjV55RbbehwGlLI1jAdfvV/pcwBO9akqNjUpFSaHGruaw3A5vr1+bLc8+Xdd9YEZ7Jh8cgkPeXCFETFNASl7xFIP+l8AtN68aDCpOxghvuEz5P9FBKIJwnqRIOm/wPPMYCpzU6bqIjJ40JYUWz0k/nZBbztg5RlwfvzRBTBg+s6Q3OKY3thzPMmqg5ti/SeD+m4RHdGgzm1Es7cv/8/xFJ33yyOXgqxG2WjVTwAlJlNPhGCSeKwBTonfv7h+oJz8XBW1IUK46UMuFfrafU3o6jbGGJrklfFi74iSgl6hgm7GkdLq806KPyri6cITGiDfTAeD8s6FiZpylTuCetWD/9KAoe9AUIbaTruwPCsrsD/2l1Lq1xrivqZIo2HywsFr3G9AFidqA3Qz4MiKQ01ehG/OlSMu16ONTJsEwwD9b+R+3oUH33G763aAwzYIu7I8aTAbCmuTE/2/6zoLOSoWaQhiIo0VHebOREDOCpnTmFCSsKxFaksAfKgyEmoCIzpGdeQtqWGrlJUAS4sJV0J/lDAmHrhpsiuZEER/EzsM++Zt2Gg/i42W99fjPj6w76l8160h0lrqDZF2vDMiwL0Z8fvEdnj/MFeswJvaozHIxCGLNnpi1ZuQ2Oy1DPNmEW+OyAyvTlp3TVsLe3/QK9u3bKew4IZDMzvvdH3bY6x32gEiHKAC8g6vLhrq2ZZ3rAQD9FVThiDcmhDGlWKpo1ddxTt/du+FOkR8UtTaMT4jMaA4ospYMxQMFf8lTxv5UR7RnaBSS2ulOY9R5tHUDkiVJ+igWYFRnO0ccGOEEdgc+WVIVzjR7UL1AKrixPyBVCKzh12iqM6DqpioaLTUouqNCwkkEVrtNnAydM6NTQ3VcTLPqa9cA8P64TQ3BqgzUztGNpPtBZyHZ2M9Low3kXmilhHLJQBEKga/zmA10/l9WbKHCuLvYQDK4ub32r5I70PkodFX4JIgHDEx7ZC8ay7/tIm24WneF4e1u9qQV0RLNwaeu6lHTCCtjB/lhghVk1h/QxInoIL6VQ0gNOx+vPjvqtz85tPuptM9cDJzw59rb38U5WlTZBUH6hfkclop8IVH2wd+1sONn2sUOKYz2VoshbRskm8zrL3n3NaM1agkN4NVCpSupGJkD9pFx8Zubw0CMgKlrAe6z73MIUUeaESuWAjKKYtYqiWxHqNeSrsV8XrYDppGorOa2jVkp1OXGl0YY5JFi2HxKKWoKFqJ9xmLDt7ULYJB2JA7m42HnVRyN/y+vGAH53oSCVs896e9p+v33SvJQQl32Sz8kTltKU6CHQQdrEmzz+k/b15BNAqyKH0ql00Nvdroa4WLXQRhLj0wNTdOuIXgEumRQG8M/kI9eO25u8aiyPFPnC+9oYWAChBJOkZ8P5LLNboxiEmtUs1MZfrmmit0bBoxKTVxxBV3SgwTc8A75LCzP901ohUlAfRWcvvSwYF7Jq+ntrEYlka7cZM/kyVCBW9YB+gQ0Ef+3SWmHzxzxndt1d6Jo/6xuRnXvbIw2dWgr4TR3VmWyHU+8FIcJrrM2qenCFcFHfvbygujqx+4NtqtRHcDj6WZa1Remje3rdytueX1wCg/ncT9JhT9qOdDoeqGL7Nv2s9l15U4L8uMVHgFihGcCMNM9ssUQaJkbnoxLvBmms2/A+R2Bg9AVaNqOvJhJwKv6aZtFJXFOcj0IvV7idkIk+Fo1cyz+9IC7xmN9wQScXnJwiaJTN5Kx44MbANVyta+Jt2AENc+1AVaQ9NwAA3ZvEMJkNQWvZyzEPoB9mBa1ll87RzG2S3lqP3fqoAbg4ublL2r1N+GzYS80oRQPi96ONbzjq729q/4HFzMot1wuu9BMVn5uzwVlT2x9cAI6plw+c1+1eLekCu/sFzASmOiqVWXzv74ReVAKaNm5u0gplEoBx/15sVKq06sy1rU1oUJHu1DEnMGmgufdcw/h9F25TuEojtTrZYTwKScW+/gcOGTuIDS9F/mHMX2WWhC9H3JjXyyXepr0k5UcAkmQ7tba7Bo5JOMTVOL3EbewPuV/DnHY/bqi5hZLvdxfhB/koEPLBnCjJB9rwGk/dlYj+X1fZpG6NFyx8UsunffiUbsvdMUSwl5NB/xdun5RpKqJ3NjiWAvTML6c9uSVW1x0r98cvYEyo/bWnYBN8R00QD7B2k0JDfoJ8Y8DGD6i5x/0KxxJ9FYETk8t373Caq8ineXm/MUJJlLR18lG+B4+22sYW8Z6mWIaqtaL5o059wrigKcxZAbXsMXSvSI/qHcnr1AYBKLVYryVik5Rf1IS5g9JxJWS7+DWwpfza5tp47+5w8cr+OLT6Hzd7jHSDUk6W1iPVm2WCTlKfJ0o6+fG1vt2p0cFF7ZorZF6o5oFNj+fViHvMMA4bNVvXe3NJKQCoGQS90NcAaWKjhl9higbEIdSqx05dFRiSAWzAZE6Mli0fZ4xdRYEmeRW4BhGFxLEh/MZtD2VKqavCuV9BYmjXc8qUMGxbkUPz/EbYjipHfduaYPQEAW5pv1FKDFJGyHU02FjkCYpteoD+/E9vbv3TduJWvyrH+iAWLv966Hf+LMjQNDGJplR7BdLmEeaxFmLU8Z2fQ2vgRF+AnKDynvgR8EcMRdpf5WDY2tfUJn8Ru0DesuKgZXGlmmRnXEOB7J/zxt5MxNA2HlV4DQckg7Jg93Gglb051ZysoUZEfQv7pw/8Ff3SLnNeVHNqn6sbzOr6ZNGjdVQxu1HAs30TMj7l0gHcnvblr6JGRarBVQjiqLLtlSYcgICucNxXgF6gVBdGuQgN7Bcymq9RW/UgsmDbwh0mImTg1/lH4O79EUyjI1wxYJTgM8ltS1bYpLgDBU7D6n98QF8symiJL4cPtS3s18KfGoMt9mZW6w5k+Kr0lUjXC1yPbqTrKG1JQjxykikq6BCjW0Uyk5oN2/z+VghRRlrCTGEuziClYVXbsAac6LE1WTO4T1k3sJJywAo94oabDjtQR8HcV0gei/ODqtJij0kLx4SRYAP/lXZtWd9SGRFPA2qDUoMZ1JKS4p1BbUtS2WyWpgXHe3XKwpNlrVzeQmlt5oczVmnZXn0c9v4KcCsQ7NREI2+3pKpIxs+Qx6iK2kbkqxhOSYagm1ipHigwIVru52ZQNsiQx/IZdKRbSPo3HjIvG6mfkhigMlaqPecJOVE/JvMcTs3SgXes0/Bm5vr0Gu+10rpo5uujUYHcunQzFHugyi3awOLTRSSJOEUVQ21hbnxFtXOI0U0GK5qkJEbgoa9uBejZwrTVYEvlW7Ety/NMMmXYCbhbTVXJ1xo/YVk+6HpVesqSpKupMgCffzsAPyaGxMFn1NJP/wAtY1hWA08tTWMVxgdSjQYRUP1/8UiHm3gpcMTaIzKtgKTN6L+qSGLk+j4JS9A7bE5fNmwZO4BaUgYVF2jiOhqFSgWr2E4MxeSMcKNb3aqHZ7DyIDBuFp6LpuU6rzvlsjm90mD0dOiTfpCdbXjQWPws2TRXWnD00xHoxDtiaqr3fGRDQWbZjZikJifAkiJL5mohUfGHTdDCvF9pFSgllnxm/P7RRbDjJC8nYkW1k5VupHUZQWRsDVnay6Z0sH3H/5fgRfRpwwinCQgIFbEemN6+xYiEMPX/DR4MhQUuol10+QyAV9x2AzJWXoa9xFV1/lXkjydMG5cQRqJ+KxFvioqQ9SS1ebcKBnlm8shtCOpnjyMImmXhquywYBcVFqGNdpLfnFFf87hsAe3++/ij0MdUoNDoXDWQwKYy2coOJz+PNlSYxFYrMnXnJW2UJ5XBDPEorWjq79+XtmrMm/ebYGCvZGlLiH0wDJ4EBtH3cowJf5ZcBRkba547YSZCyTaoxjMHiznrWRP4Kga4/Q0OY2g2+1dO9o5YNn4qOv3F/0Xb3kmwt0ps4eJw+vaxYVUrmfyXg5N5HEsCWs7CYKMAPXVhXb0kDmvpXypVoBnbheCzh1IKX9kstAFGdxjQyHHIpAf4SHP2FlqGXjjQZ7z0b37VDWIly3+dGzNPvczFrDdvOzEVPo2/lm5QtXRA3VOjbpsnoUu54iAsaBqThnAST5My/D579/GPkfZUA/q8w4WdahdL1ZiDF8en4MOWa/dfpf0PM+uo2ScRBdZ3GBY44gVy+fyfi3YgsNMasKmQmgzu/U7M1bVNaCuaZo8xvmY98OR5pcXXZTMDP7P9TUDBSwv+lYFHyZw4AMfscA3P2DGGoICmgwJIQcRVM8GUb34iT3jZ5FANhc+a55WYwvjP5tjh0Y7tWAPf+3ba+32YbZsURGfOPhnjL6T49FhCT7Ut0U6L9cU1sswnv2y0uROOVia1cjRIGFSD814NQEcQF42hAhJICW3L+OrVbHM8+GZeEDE7108Ba1CkAAtWaocdZ03slfzA2DeERydzqlTY7t6Pld4T8ExnaR5H8reWuyVvKW50h3r3w0Z4htU/5uw3HH3lX48iKUSL7tL+6AVXnjHgDYNp2xxaQQAea/p2FQ50AW2xLhJ71bER1X6fqPiHhjYgRLdDQ70i38Z1B40od/VI1wU89zRxP/jMNb0skebaLECJeg3fhYyBUoj6DAwxfUK6VmRGkS7jhJ97tn3SUem/ffWJN9DOxLj7V9rgRZA1ofEcxMxlU7eoB2IiSpa/o1gDXWxluHhh5xs8GxJIwdyGLhL6iEaz3PqZGj0R/TInfpLiNQmVSEE1/3+QPFOKuS3HjxYRq/zgOru7qNtI0xS08LOrsyf8lIoT2PcRxCr3Vxh0uJlxhRzuu8SLfZsZDySncunFXWY3hvbOyEYw9IEkb9EUwbtXuHEr+9OOiuYqt8DFqC/NQqNbImgzwYRx4RDm7K75KCOA/AfYQQfeNpBZDvYXmgW6bmzs5QzAqicWlDkoHM84M0OK2zqRdyiKHHspvcw1CgwtZT7k3AbyY8b10hWdux3io+xZ8ycyVWBpvUC1KCDwMvR5NDffJj2hrJtyy6QcM+NbOz3iJROmR3PvYD45pxWdVXdjnbXGtFk9i5N3hu7NdK0Lq5qV77MOvzj8XUeqOoCSy8jb636xKqNXfgE4HPvpOtCnIJVQ5RWISVFm6/pwebn6ji7McS02wXtD/WgoKmnzZE+nN9do4wAn1/nKODwIcXbZlIQrKquMHs4TQpWTuP2l3Jw3we3CH8ahgU/aDH4KJ6IS/4kuVDXfADeu507RmcOSyhisK0fO4x+zyf0JUs+MBYdTprTjqTPV1M11HH4xdkCnK2+ttI1cKSSSU1qvWGLRJQkMQzSA0CPCm9w6/jRvZUsSBOfslicB2dAdWNa6slwSILGapfljZ77t73xkwX+sQl6R1jf26lxc3XLT/MDwlOvKYKU81h3vrpoAmyABh8s7IOHv5cves3AqU1HM1X9O1HsHhZt5vMmI/056dy0epp5/W2fQbp5GBk9tX0fkzoZOKtRmLU/McoyIx/FkeXE4fVYDS004WkkvubK3Zs0pbV8zVvPAb2RgFPJWf6zrInoGmyrKcguYHV4nFX4K5uTO5fTVuHapX3goIL+8mp737immYOw/MuzBzW+8oGm+RuO/i8eHIZyq6wSVDh7CLLSz8xrIzhli+sOEv6cO/ZP9rhkmseZT7InHYYEmYHePG4AbQH7lW3S5yqrbv9Sat9kVnBGULhKQ79AEUuHinnbR+mxcD0MNUPXx/qVYENtoTlYqId3ErUmX/f5iIbhLcrX7as7ImezW3f4kijeNb1YZLVY32ezQsDCIQjyC9a5uNnR3pX65+A90lWhYgOgFdzItZOm6f9VVChGOK7ztHZAJ+0ROWFe57fCtblBQg3biMf1CKN1RzSH3jwmGb5owgfT2HMkGWraLo7ZF3MtSXSwGcYHDoEVATvFmjuGfrcOdtIUaUl0OrF9QD0d5LLpmGriOWjavYq4EHFBjqJvItLGOA8LBv6REwbm6OfIzNXc8JHhz7jzLFQ8fyLvMqxsuX43utHHYrs+fbBYa/n9qVeT+oC/v4bQhWNuGDLUwF09jjHroUMukpA63PyX4opnZgnypX73rCtba4F4BHcVtnU9yxHZdiTQW+N7cX9r1O0qN9+wbG5yDkl8RtM6KiD/jD6vqu+yBbVn7gR7m9hPgy26rwY76vnQ7Kk7MMfs9UmUSpNE8mg+flgNDqqlcuICyqxnsk5U0MhwFL7yoiqH0m6UzZJsh02HugY4oC1xhDuoR4HUgVPAObI0NrHIDLmFFyO97+i24Ee+OgH1qBKPJMfPity2Bsx6n4FChAH/pJd7ig/6fEmmldEmkk8tMTYByJEIrOjjnnLDeuR1UyjWSHTz3tVGPlkD3zCtwjvV9oRhpa9wi7/KXLQODqIgCz4SY4LTKcrEU34hpr8M0tZDAB/strf4YEBhNFb2So0Kf89fTYN48dBmzKevgWu1bVplXyi5KuxGr1U8+AG4xYKqN2G21WplUC7ZqPb4/LACfAjeQ75LhYv0tkZ4GxpLgE56busnV0+Irhn2FDyUHdyHZ+VKTcjzs2uiS1bW7O5U/R0j39Y2Fx1Oz6mW/fjphB6Sk99Vgwng7QQ5hsNUjkFue0wEoH/Xxz+hKVBs16/MnmefsCD5gE038EPGOniEcAErvc+zUKupBrMsefUWLlhJ8Zi9pCNHDCxf7d8dTAo4X7wmnu+8jL5/AZMCDe+kB9DLy0XY7L7/KCa643v5YunZBFmCJ1PsdEZTAMfHg8LrFL70rVmyCi7icp4/9P8sE3hXODeuQqmTkM+0ehx77zxxgdpkFt1cw2pcSRpT+V2dk5oR4HqeBs5qhNfzA43BKxMuNvFT8GwXTIyodl41yUxJgcdw+FSeGmv3KQ/Fb18cKWh+Q6+zElzjU2febr6cP1on+ntVRsGqvRQLFuE0b5A6G5YLAvQYss9Nv0lIScZhY/k4KZv/ryxI7yrsheOfsuevH0+rAhlPm23RCmFSWUL8MG8ABFUNaL1EE6zBjQv/4GLKYLBvJGRJq+VvIWnbuBaK+/pGDLlobWWCLMVCeyW3Bc3sD9rHcBaIsqSzq1FaWOopJcBiethimXBrsZx9hfi7iZqnL/5hbxD0b1UUj3sf5bIsSfLXhkDSSuGQdtFMNhDneImQ7dm1dZJmYaYDbk4OHt3wYezBqV1gp1SzHA8s8xVHAazwiBbMFKJ5IE0XbLZ3GB0cIIZjeQmJ33dNwPJFvnxpKSQKDqCqZaICCN60gtUaJcYIdROhQkYokOiJPPqyreL3N8i9hzu/3puD9DBA5S0czUSIZvLJNYZcRXDMB3rvI8Qxw4koE/aly75JmWYckuvtF9GF3h8DNGo+8NqZaxXu5DWE6oYx1wcokUNr9ou7+dVnjRdQWnh13287Cr1dR6lDdDpMCJZVpU4koLNeeEqTpqR3RrdSYM5xRd+ekRBfuCJGf37L8VSq8MMn7IbHyrtEUcziWUkKeG1SkLtoTk8TBjgnmuktpI/8gJZgh0Xy3bY1bXjOFhhwT5az0L5STUsVjR1zIn5ZUqz9IF6dkz8J3/zMY89/xwgBxATdn+0I/gkVcCEeCf1U1bZzoFO4966fFinTnfdjAuLCQTdH98kxU2iXcA30mXcqwe43FM29j/j14ADgfzd3+Q42ZVakbFJwFj2jujHud/8OTbn8UC/y7gxdeqlZWcYC/E+eKprxZ94ZU9PrQi8oAGbColh00Hzv9hTBLsx1bgSWODPIrgxdb8PHwJKhOPKbGQsJCuPlMTjs4V3wvNsRoePEdHFuVNd4phrOSQgfpGEXodNBOuswNMdZEiu2IuNxLgbBhCFOhT9InqJsBxqkHPptwuOlN7URXJsw4ePyPlubdNzz2ct9DiZ304QlmGUr60Jui30EAV+rLepAl2IJsekyTBXB1VAHuCJauHutCKQ0bPq1mEO4AggxBx0gCDcLORAqSCDs9qmzdUglnc/+nMihnbpjV2/zFkKslY49mZ6jvm3f8VaSBvaMjth4xqvEPWdbcyWx4YJYk0I8IY6Vt1cMyCrr8UFjGYRwCpxgDBHbRXyMH2bSsMWZQrLYDQj1cbP5GzdI0jXsPujJTGSApE0raKuGCBalfL8pEI8NG5KRCijiUFQjlIkv5tkTdkknPNdHmcS6LI7xhUSM+W5jcItjV1qBAQH00ut1IJt6C8OWgF/RlPzkiv2W0GDpyz9H0yEbW2uV669RBj0TLxZgRiQuQufmBRlpOgZz6GICpCwNu7k8sLQ98VgCYZ1+0IKS9w7l5pipPrzS4HWUzmRDHGwscggPJdnsUcGqnIgrYTkUAR8plcGxIi4HGm3ktgDt1/cPRxpp77XcNfF4ghWHyLwFOdwAQ1ct+Qy65pmESi5H8ipmWXnL/5FGzHxo0hzhztbVI8A4zb2zmUyMDfV1vkJi5IDMMru39f67iCh+ww4T/Rg1jE4A5ELPdfRiDzO7zm7N+OfvC5GzHCrBlkSVlRKShJGR+K5WKFghAsgueJrlfB6Rw3c+Ttb0Jp54DQuYeY4hysBC6zTy1X4c8PlVBvh2VP+20Qh3riTFqQQGBXiaMCRN6UgVfOtDHI63CcPFgfVt1l/H2m9bfPBGN+xQQgmHB2Y6lHYj1IB1sXe26/HzIZe7u36xM414f7AdPwcFP3FpXr8N+qfrGtA73bJnznYsixfVB1lP3TIIMEvrRvZu1iqfAtbR10/opQEmnIUsR4KBtHsq6oKRpiWfa32ReoXyjs/4P2JEqDEGFp6ZRMkTnjiXY3ZkvMWdemiAXilfATZFFu+2qS+heBY/V2/DPExEZ1b9VybUA4Rumhnay5lYyjeEdTa2vz2hVcWIFyCwABxakkBQWjh8N6C+J28POinXhuyC2dPTvfHQorZLN7qQvpJnjsVjz5zjqJOHV9jmPMc13MQ2dmjgtH/Dl6KadW+3Ed2EuXLZjpKN071icbLjCDOG33pXNfdO9OL3DGV0y1EqhcxHSUXJ5zGsuJ30YTUEaE3FbtDTVWwrcUbdsmubaqUqS7pnaxOLw6snvyh8w5PwSmm713jkUsWzcWjoWcPpIo0h97K7U2E13Ak+qXdrSzEUMeFRqgnES8Oyp6mUvaA2i5bu1ChKE1TnGU+KahxMppI0LNy33NPaBe4uJf9WCBhdDQGmcwWRaMaKkmGL6HHNswUyUx+/GQmYHyFPQKcYNEHbljGx1GGHbLyLtPl+Ozpm8G2o0RyEoGv/JiKKWGOBf/yjf6PaVZaoQjsgtxk62V9gVByTwewB+zsNHRpSf9DwX1Lu/hDKW6dmkrE/CS7t1KMiUm0ja1xAXJlPVHiI5snf8ZsCCIaxUpC/0+z4KawcDOGCS+re/N3E87QoOxlOXp+gOTUaImWVvZgdaDA/W5FxUrFRmoNU8cE6a8XQvIwlok8J8j1p73Gl505crOwoMVw3UmAJyCX0vyefbpRvSoWH8p41vdU0ximA0cxrVrwr5wTKxc5BgJhG/pgDllmnzCOG6L7H+xIV4ubJ+es1JN0Bm/gkGp6FXX+NKHPguoci/XWTpG4cvLV55+0a8NEr4ZEqdn338N/QUaYtWZi6F6hUghXrhg8Qn+LsOOsop5d7vQRbPVTqbUll+LoyJjcvt0zz8KUwhCKpxfW7ZGKDXhF2nAJf158S4B0Co3ws1iSsDODi4+CqA4K7WvshNR6e5mh/9XeaNNXbZ96LV97Rj/cgWiX5t07jhPYjnoYYpQypD9/bB7pjS9adY4EQTfeXPm3epJOF+XdPHRttliZJTpfrpq0iF9P4m426f1DE9hf4CCfLiPcMoLruRu4yVAnQD8dG25kAflJuzQ6LTI4uEDLbzJjeDglRitH+H7GkQwfYgpIVY+wT6tfOWteNnt37tuHqikjbBOJZwPLYfrq2ACaI3+A4kMd48hYYbL2VD8QLvCwT+IFxj83gJvuVB60Nk5JgDVI2kh2v4OQEHz8uWQR3pa8bqB6j52to9/rwZAh5Kipes95E2hb3HqE5n44xKlQZXdNs2wk5RLTOZj1jiEVwwQLSMKUkI9vjmltVb2SYg3dgxEcyvuehYzvE8qRox9ll5H7XWqs8Nl5M8yxfNgQcIJPpvMUDKjcRbFVEnzLElH0wT1k/F3IBMSQtRoBC36l2iqABHxUh5QCxwqoWYe5zfo9Ku4czvDL/VgaC7bJLInOFgbtEv5XIDZaKJE5J9ITSWuIUQLRgTHrRAVtCWpLPgMRotZ4pTbLGpC7TYGXp8OdEMdrEpUnlxnDKVWtG1EctiGrjpepRDKjKbY2y281WeH4TGm2XXb1ZJl5ZYPke3fDmcGIgRQi07b/xUblVE+MBIRSojAfEGcmczXU14EYhHRfSkjHmvuRtw+QvjmYLEe4AGlZdsMI5pG3rc/0baY2Zy8iX5gUwqXn0RB1kGTk9smjXwOAAFK5N9UqyYhon2t/Web9eKcZQz3/MIS4XH3b1iaaL0RHFTlffrmJfnZengaNTZbxeJeCVyewbRWZ3QiaGZm2WRiwYcRTGmWZAfrFKbaBvZYowGNZtqGWgAg3+mOf16E9qD1F6LuUg+ichsPgZRiu20uyF/0KPYY0/elwxLVtwqyp2F/i36npflpOULgPxXc1ayoATkP0j0lg7evNnKG2xDUsD4lAGwTEt20/vzE643JXHb0xOGgdmx5B4qu/n9ABu/khCfKyl06e3nMoHD2J3CKDW4zyvFdPwRgAyFAvcgHDQxS13bnjw6+cPeH+mqgNDKwcy/Y+UJXlKZgKP0he5z2guwMy/emZxz+8qZNOwTA+1ZmmaoaAbfB6vxuHgZpRELZp6IYHWWSrGnlu4TgW3ECyzWsShmJaYQEZ6ZgSAI8tEwTDxiAdk99BM4TWM7v8YUwkiEnriH6p7E/OMEtUf+kBN0qmKZBEk02vOegY6P3MnH70Aq/j8BKXLhLI0CIq3MLlTm7CLOH5cHgPJrAnZP4ZWkjonxL+V/256A16c7KyDoQezj8+KIBU4b5yBfY3ZCDu9TemhoveJIM0S/4Xk9UlvN0Ja1qNvt8iXhpFXH6+VdgO8ICxDiLzL+VawPP2JY7y+x18jIYCqUIbj68ROQzyYfKkoBziIV1qjea7i7olohGgT/ZPnYcUsaYgYvqR7nFU6ufU2GTaQSWX7H/C1HDHUJrzSbsHwcYAnpLuqMO1tUYwwXZph2zwWLJoQb9RvsYCxCyU4B0B+8j3jwmIu7WLE43TJQuBcTRfqf8Mx0rCBcjiGFhCWl/ehbuuXbIMD0MSJCiKFtBRWp7oCiT/201ozIp5IkTU1xf2ZwLtiSqvpx3JsBRWZ9cdEZl4qfOYh/olyvP0CmMXU4dgUi2MxgqVynq7ZekJQOe9fBgMy3+x9xYXquL3AVIINbqkGvxA9pVMN5AINDlUuwHoFmMptaHAQVAq8lvqDSyiA6t8w4jOdEXQ0ZCqEKQ6bZ9NTv7/uaw+C9NjGcO0/zzZP17kIIyeTup4RDnva4dgB6bHTHV0ZFCgro/NMiIumBOucTs4uNtN65XIwenjP/qhPbtpxEU1f7URO0xXbAbf+2Lu9RS0Qs3XkBYY3a9rxjaWVFM1Atbie/i8OZzv64RBhtWxL3ySzH08/uyY+i78CDOY0Y1ySDOLwk1FUsZ7NxrfBL8YjmOtcVBaK5rDsXCsEQ928AiIKzcX1fzt5xFV+ZASzU5VyG2mU9cDZYeg5ezwiuuIMp5iWcOcbVYygJlLgTMQXQar10MsVpKkN/W2DNukBHZRsmO0mQWvPLsUQ3mZc2/3Tkzyh6zr9YbYRX6NYlE42scWSNHwunCTZ1pHYcMIqPyL1SsYwlyioMQpXbamyydNe+lSxiuCbP7vQ22OsyFbcWsl2awIZk0cKmEp63bDNIS+x3eM4LBtxmfFsavM1FjRvQe1c4agSWobZTHGW8Aw+oEm8DNiN4MlUP9hn2AW037Q4kaHYciQVhBFwiyryrClde94qLblxVv/ZKVRRw0QpT01m/XVWVtCz8j5XyO5BllIuWsbh1JbGOyN0A5nWvlWFebU9WrDapz8qDHtBJFBjpuxWHGjTCqJQteN39880FZcRuxmpKZV1N+e4iKRGY+VXn6H3TWUJIxKUZLhFbWZAjklhISdspEEm7D1cACr5A8kVioyxZ25cG+sNuqMAIAtFaTQ8wv3Wm4IoBSitfdWteO4g4sHOpuYEnAatOvpYnx8sqTvlSZG3LlqLWS1sZ0px2YyNpMrjQ9PrIumkFZeAS16/f7+khu0lExPlPfOqE7r24haHjSVSMpL+K/8udJOQdxSQXCJqhumaCHwi2obbq/WSSAXvzP69gH7Yo06lF6Y+Z6qhnF0rU31hzX8d2eL4kS4p0lwDM1Rlk2ouWuAv4Lpy/faNsUGOoEyBzzwViWikIDZZXMXGv2ryrO0auv/oEhGie47AZ1IdA4v15KXm8MaGerCHVaj53k0CTnJDsXZ9DvizCnLVPttF6VVV0DhaZAZuYwm28ZAe44kqECw3zq8hlgQ0Fz0HczmPINQ0tX9QAFZ4rPRBWzn/FCA9LUTX4T77JrtUBC6LNufrKTtC3QOnT9/jo123bufAMg2RjdZXwQX2LB+lQ/FHI0MWQfIxZ2ZHpj62N/NQgw1axWIOYQ1hKVuMgwdR0Uj+iTMbSW63gwXDEkK27FGtWzyuNB9oZvvyDuTLaIJ0B8NwCOUuOFDdONqxA//iu+z1BSt1Z558GZJWhQHW771QwTWRYNruCcX5XC38kLSWl9P26HWlvElU9/Jq/dgMmq+KAkmn37lrmFteSrnPN4AKjJ40Bu0MkVp0OhDuBb4r1Jri34Nj99l2ZdvPBOOQLgzvg3SNbJDQknuI5qTBwcR87yonr7Wns56hUw4Z2cAX89wlhlWNXQZ3k2wtxFxtKOQtcFCJuLnleNVmWJL6h3UU6k9umKwI65J+w7NeqSnxXabBO+OuMlADGZOoL8NhXq1kVeoijnBB8pXPuKec/aHtdYVlMYlP0P3JV2iuKmuB+L3I33xSijW7h0qoyM3PWwH2Sg+4HCSS+8bzPbNLuSQIl8JYaFK0Y3Wrj9al+clqYCrd+x5ex8dH8WknLQsEzAhj9Cj52og8OzSv6FgTf4sbNVbdzWrJS+DwqCSSwXfqBEZCkmJIOi7rMgtCKPhqTF6BPP9v/POWV5iOvzhiMSwdzEGRhRXH5p3mK/e5+wxYJdmNAFG2nlmXSn4/79BS6Febkkqj/HnVu/1ISyQzJdCYcktGQ9Qoj26U1rhQKnaIEurtXbuAJ3tIAUAON4A7wrsRuvfosdCt6vkshAmWzc9PdNK8EbkkKeNMbPpPFizBmAFFgu0TSnIYCw3bmX2hayDADcl7Tiz2l5yX482nN3lfXUtLQ4N8nXA6CFmD8wk7PEQUJvpHdIDOCWc47VpT4WfBajjH4mYVN/3djIGzrxLohCTXq2N2hgVe1C1xpvdm2iw+EDx1+4T5k6daihp8rYj9AWJvplpNPHLAq3ZBAyWsKIeEEFB16Aysg/S/L6lG9CZKwLTWUpQ9fsWj33V/5qHTrBKMRZYq2hgUxeR8SV9pu7FAr7o8ti2TEQRlKuGEajLq3uj+T2PbF1dn3sHLlthsygqgKMYlcfJ7bbnA3SKV875imF/teGaJoOiMYpSvlfYFp2aa+bDeQWAcW/lZS/zgtTKcP64LXyBqCzFYhQUvxqAxAyjZk9KR569kTSiSDIj6TMOK8roVnIoFXGfQkYunevglhaifnvBC08BX+byI8HbdllVAYpnWyCajCO5u/5owQRtOtgcHyb6zivvisU2xLRIli2G/5moYvcyh1mRcUoFcl1T9EpT3O+q9lzAGWmQgCWZwuk2tjRVbi2tZUf4RjmurCNvNCtnyvbwROc4CIODClCfN4gZTfg/hXej1OIfI5hHww2Bz0MrmZkjt8RY6zJGFtsmPOWfL9aQ5ws1ZZa6Sy7buLAlPiIqCfHASfuzygvmH3N3TjKzOb7+ZjbU+l46LtT0GfA3J3UtmgywfYZeUs5MpZNtcSjKrVIZvVNN82bT5y24CAvveSYEydmf80+Rhb4PLW4rohk0M5VpyqS3LK8V2owkUgcZPKNO+hBboh+TUm5n9EQ4pInj8DPRwpHHGCQqjiIM/IX3lkNukAlLvad87KRtyno8It9Vp8srLiNJ7IBI9iemkHH7oJ22lJRmlZNt9cK9IFtO3YZxWraoHYimf6nt6GPVrtRDmCFgqOnftML9R3fS1bnFIw/BpDN51Wp/aeih3/2SeKZLaRkiN39Cp2Y163OFMdoBHD3q3ft/hY7RgDiJKEhQOp3Atw9C7q/mSqssMBeavGTMtN78M1UIRuL6kPGxYJIKtRrr22pZA6qGP+/Vmrp6FMJ4IWLabGh8qDwp0kjavFydkqgZNKibOgD/gb1MkHYLqdkH7X2B2Kk+xq6ZaBBKkY8ew8FSKVRNMkb1BS8eACLsr1TMyNhllA8Zd41/6jj2e/YNG293ZJ1Hd+0Bh1hbGFheQvAftW7lai9NBTUNVKQZfO1UCJ1A2zkeX29zsNiocg40mf9OjPx81IgR3pH0duIrnkmxusBmA4C3z2lUOMgYQYCakRxO/VH5uwGIKY0K/8BuBMJ41wv3m+1Elpe0mKUWCgcaCsxynCkckpmi3byBsp3Vh7l52r1aJe+bMpr8EbjSJSRuV9uWbY8YcALf8qHHG48Le0Em835V6nxQZxUASkC5BPAKawhgrMhl0qy0idtOmbmqJC/xjsFW5iKjnTuc//p0F5zbm0Y8NVfflSsOcdfebhwMoaScb6AUQ79Zm4+lK3F0h3Za8fYvQQF2WLO6kNdD0WFVRT1Ng9IYZsWrnE0TPJ6xos2bLpKJ6UW9q8mreP8RQdyEvhjzt5hoKzPabpDWiMHzGYQRgHOZjGxs0KIYKcFBFdy1XzRlfnfZoTcfELDyEZdZxoBMYcAeSJf1wMpXslrWrjw36EkwWKFtCQAzq5SlW4O9WPZsSejDCnenZbYKxOu5tNWsHvcK6TioaX+nO89wWNurpiflZnj4PoqfhvisA1xHtZKtMDIn5PAXnQjgU238TmxmgU+yGOAFHbV8QK+pVYvJd9S4B/SNIkmrka0x5qax8EJui5Dx9dpKqc2ur4hfr1K0RbV3E7IE37jhKO3ervfL25Issid9sRG5cmwh7yuVBxDiAMgppxEZBL/Vv9Gz89yrxF+8lRKyg2rl4TFhAz8GGDF10YZ2BvbVf/QdGZJZ+sMuD7C6SHqVcGkNJLqfJA+4agy/Fu+NHKTlb+I6MjhSV/rVgiQDPxJjJtlXrcsYvPBAPtA/AKfgU0YlHrRt0tWaD+tb6g1xrVTJ9VWOxHd2dJGo5PXM70SL56Qiy56paO8WrAm290chkHLTj+5QhcfPsb8ZZCLEwXVSjjlCIHsm8U2F+MltIjlq4D1e33U2B36hKQoFbw+CJYp170foTu+0VrQuqVud/FDYp4k20TjR30YadCsypnk5VKKtTRj7zmrhDyZCTxLjsgq6Pu+E7ZXAn/OBa3k3LCENQCIvv5OVgVIx0ch+qRgR4sel3NtU2/k+5vXw5LoeygqI+n/JUR6SZoO3cOYv00MSw2aw4iENjGggS/3tHU+oksH5KKfnA3fO4tKpLdHKPh834OSCBsAYNgeYSo8DkkPYtKLwyVPFWSSezscmDLAyarbbC23HRwgt5iq7gJsHT4c9vnH4Co2CQsiASD7F28wSILTrL1gIxOhTJ5gvQDUb2aMka8AqQCfBGR9GiCoCD/1yhuj6+1TZiMOWtHSxBABwGyKrKeGWtHWgrt3X08JE+X/yiG9Yro6CsT1PQ/DeBc3Q1cAB8PUMjh8Zn7PB/WbzP14lcNyrKZyKO4Gb7aPJLF33z8cCuipBccT5+VydxpG/CdBdVzkF6A4gPSc6+CfFuuI8Bd7NN2Q9na8utL17wd3ZwyGr5f4s1a3woN3tVBB+26LzcAMmBjmgnHMnBZpwYAC8zZt2Izv/YUzs8AB2fP8BxMGKH3NUYJ+Xr5qvGaEgIt3UYf+NL/hahhVsfocOGtvp5/SenRjc+/Eep/vnc7zCLldHAiRnioo/M/IawvIJMQUsYefXCy3eDIYyoXMvo4dgTNsToZIrt9QJNGOK0nQGPivLrEZ2SJSojT6mDqCqa7o/6nYuqdT8QvnU8tBQL6zPvWsgZytlkwF3tgn3SUndvx7pl0G1Iec9BItEqL1+sc+dfu1SGVrsR+uDLAaq3nVbhUkO5PnEnKnBZaMmVq3levGaZl8+qOhXMDbeVJCWuB38ySxGVVb0BUQ0fcKM5xE9kDw+hpIZ/R+fw9NQqzjVG3x43WhwRyiohikZXYXjzomawnTMiAmLX7Dy5nrXo60t4oJroehRVNJbZ7/QaNv7+wnhuhIrxGoZZYyPZqijP6COTBn4EMQAW23xD/HaiHjFhsNPw3uZT63Mq+UI1qCKDwYfGD3ewyjwKODx/jLZnveMi2ynN4mqCOv70mDTIJBHTqUfBUVA0nWHjx6qufPt0TVeI+6xC0JLBTXAwBNrD6Gt8HKHc0YWWb8W1JfFFYE8OVHh0222N2UniespnpszruLF4bVzrCBSoi6j/iUZdJOXRZBw+T+UboDraYGgfLXSPnWr0oOp+egqSxJDB7TE2YqyxTOkNTOEMnmTSFJNTOggB4lfcpVlFlKqDIi5xKHkKa8yOg8oztenOlvwgx3p7gLlv2QV2B9jEvg2gAaWs0llrw4WMCgKanSZs6iKjsDrwpv4D67FTYhk+y9oYz5o+6yRRDhzPhkSoPhEj3cDEkwuaH654r/eUQHfMfZkMlKvPlOKEEVUnbs0NSM4zUepZU9YL5dKZzrBeoBVTTy9MuJsiPBOZtIBfgCQHCzs9Rp97fsewMRGaYEVBIIzM77ZHWmbONLQgW5lVdKLdGsY7peBeFyVQ5XgxwRooFNYh9XhBElgsIcoNGZQOEa1VssG/1dm0qgHImJ6/M4pfCqpnCk7Is1WvZyr+nR2wzRDwv5/07bVNI6hLcs1RxoTuDRRpiUkmqPKJio7jpx6ki2X/dVTLMSRG1cCnihP8fPGetk25nZBweFkdKXBzS3tGrVTKnK6hA1KAILC0vd1ZBxc9OG+o0ozPLhZH9O5YtY2e0dErqpQhD05s+ngg5QLE0j83U/TTBa0FUTtVtAajQhyfVlpc1zsKSnF3MlFBGs+rJl/nDXZX39kzVgt9fPS3Bve1rRKdwS4fivRx2NzgEH99QnPPCi9ZthMGtQCFB8U+TQbZCjPYEYYQumnjrywqftG1wmsuVh/pCSYvmdQvBezGgByXNy/esB7iGWE+1ZXR9O28Eaw38hoJeqVDCf4yvVpsPKGR1ILtlwsfovnkeY9s/ImKVi88OcgrPq+O592F1SjnXq0keM1rHyuEbY+/XbhCnkKf+j6QT7727XxYCrg2ua7M70w71njXRyc+TwrprF14jS9cd9MpDrRRN8o04weERIJSF/zAo40G387gqZfR5d8gH8WW2ukmCuK3hZNMQwnUe3PsdI1RrvVlMYrI/A+rwpllZZq5fWAZyl4v5eKyS5HqVTGYH8FJyW0M6IW8O1bj2XKDlHHZ+xwdR9X9HiEA2Dl99JtdJk/ufK+a40dky35DF4qWZTp/7SBEbgb+dF9xyx2fuZ/MdwxWQtJNYppbB9pZhgJsaCvimJVPNWGyLEoHAcMdx06cKY4HejPCJ80rvVEEsd5xubEkfNa5DbbQRzawy/iSnGQxomqxW4/e9RgDjM5+GwUjDb2aLnhXKBMmlGFSYl9bkNGzdgE5hLNHwKszeck9Cqmcuz4Vv6BPpv1Ygjik/hCZZppzMmDk6dBup3ovzIiCNLl/YdeSMF0zCkfnB6FGyDBidopzU7LE9X9F8gcKJK64f+xQd//kjAH6tIRzdzXa0qKGfoAyNnkXLDjOUD5+NBDk01Hi8TEhaKEocq1iIEQ2yU+3Cc9BC7jVXZi8UV/zGkMI1KgPKJYkyKVi8mOCY7WPtCTtzE1z4tLcw2U+NMJ2UD3g2gtKtkBBfDemP3EfrfQNswNMGMDzLN0vXPJv2IBpRoaZQeBLfhjgqoyh+LanmpKFaF+zdJpZGszoVYJq3X02ECZauLdZfynJw9SXEXvnERkJjqgbwe82loEEBsL5wMScqaJdPcmjub+IMt42/jR1xwNi92+PPJvDfreCffeIYkqSy+djgMl1r7xm5K8DdW+AWTJOPp7CDUxS8PpqgugW0bNE8MHa0XcZS5CaoD6Fhdohp2oJjwdN2o/QHUvYQnbLTlS68VKcIDuQHcunTCTGWchwE+r9Y+HyegqGbLnIFQcsmC8EDJdRJtkAWZ1ama2RK7NPhm/EeHldzBdBfUQJdCo5Y/1zbHNgIyvT1YUGbsOq5rCLG1WQPvXZb3+8B0jN4562TzszmAykxLcrRToffHxgU0P7cB3kvj85MvX/xwmZ0Bn02hMrRdnyI/ux/MbOIfmCk7z2hDBosPg4ZAUDw4MFwLjY6g/eyzbvM1ZnOBFzB3g12PQlW9Lvbh0FXWTjHoS8oX7FRmNnet81JdAQnyc7sgpDVXICi7764tc/WMy7284VbpvWptgJA0VKH5igSgZ/u/5W2iIWH3A0YOGtKYQk1pAOBDRCLNS9sQb+Ac0cOUC03yG07hywo/nozWgTtLsnEYFq5mpnKObyGkgyFZ3aR/gQ9qhaHxDGAjTWnPnl2zzT/K86P3bL8znTaR6ygE1OwMzAewH79pkWWOUbhZhyY8bEhYDPNSYQvMZwIKJtqDOl4Hizz9m4j2TWmnhaEELspsteUew68gQM1gA4Qo3XGTLvg+tVmzNOKfvYKsRNZDBqjbmg2DgdXRodbMbLKnp7ttZWx6Qxo8/JgFWNHoyfeeJx1Rxy8/Z4UomV9o4sluoZ8qIV86iCFXD/RwSQu5UuK46H1HflQF1xgA/Qbi2DJUqwVQKx47hYOZAtD8Xf5yLRzm6btDMBgJVCeG6RJct+D3aPfPijoOIUft/YaiU8lWJBu/Eo5dKTWzux7CRyjVGrwE7JzalxqvpxS0n5DThFhKNXjgxRLaVV8wJpmwFsMLi7P5yMoguJCXorK0aQTdM+tdrENkFUQ8TYrnOGMLny/AcpuK7pkkkCARPMovjBQ97D93/88T8s96ULftSMPmhRlt8NuWpMGuUlzv9MBpdM1i8f77GiTKi16UrNHv2B1f55fHc+31vtdV0YNhpfdcnt8IdwLm6qRqo5o3418rBxC4DW3/gCYblrVoqutLp4NDH/DCB0FBxaK58mW1kACux59WuCXospYVWrGmAb6qKWJ3qmqEATywgSF9lk+c9Gw7C6qZAuPtDDXxs8mOPq/8A7vGOiD2d1kt6Jcvfp71q8CSoO+4alftKgZJyaBWGpMR+/yQqeeddhs+0ja01AHU2TA9LOxGGe1ECezXzHklT+rm7Fhf7pJtRJ0CDRj7ZyhHp252TRLekzQTYRmS57Akv6k6wOwl3ryB+YlNTDulB4yCCoTmh2GI6rfeLk4yk/AV1wLCzUUO2aqCt8ZThXZfbhiKg0pf8C8wHng0BRnmcOPhOpp60UzpCGpA2vV9WFyi4fN2h/9jCNMf65EHm5c4r7vQWnq2hLGtYt/ioCB8hZXCanp7VAGUNiSzqjiZoAPZ5gsbpxa1mAoz5zZlYcNU8mGzGk8aPoSV/8ccNLjkr4YDzxg82tL8dXYS9pjYhu9ODrBRTAiX/p9Q9LnhHJmN7cXSfnOvQlcz+IiR/cet62yYAwBTpotW0pzgx6s8s41/P5HZMJRTdvyYTFE4kgAm/5oufLP/hBW1OdkhQCgJHLdGeSSHPaehG9VNCIRXu2E659lnZXQOVmiQMa1F+2MhQ68xYhse3Z1d9tYyhbR5x8lFFvIAOy8qOELpAoeMxVfk1Xp1h7agpsXSa44+Ux1rcHTTSALtLn86YUKxexRurwNFogj+esqNkShgbTl4nx2n4KzarjtWdYXVvL+b+H8Rvhw8Gki4N0FwtBA/fyFU/eTUUaQvSmMeLlLiT0SkT/BpaXT2nr16a7DDZRHMR7tMBzRow1c2mgg0mPw/aEMmXHkaRVyaQcrcbfsIOSJf9EEa1vK8NInwY2QaJwwCAoViu9gmV3+hD34n/BOsr3abX1nWTFaxq81atkV3Xe0szk58YpfWi1TYrDzHoRRnY6Lp+UgZUn6/E7wqPAflmVK+kxP7ge2IgOlgWIHNdt4RNOHHG/k4d+NP/5SVjM7wQKLPUp1XSgy2nrQnYzRK3vWGV/dbFg89Yx5E/nvsKnxMSBKfRt8qhispsBMe2yehKfxmvGXAOK4B2Ui/hSWOYFCADw9MKAVLZMxkk7yRT0gM/IpcV1XRdLqE/TkO5nfgNdBFA3Ce4BUKPCa1NlqtgrpoHqpy6vvDsyvZm8A1PJohyLIat9cG8OJbMd1INexDT1fWRNkzn76krgOob4qo4iKTVilcm9+6xIoWvzaw5XKM/zWLGCsYbdAHDMAyhXZhKMF6LmHv7rAgXEuk9Hkodi46sIxW1OQPhulrKOpfFPOY5or7j+xArcN2dk3BMW6jh9avepwGTPVL+heRoOAyT8z4LH97zDRgkZQa7LQrfIGE5oFCJqi3Rk1MyrMHqJykLtl9MRDJtsPBS5AgfopyPQAP9VwL3J6KU7SljGfASuW4vJ/oFibWti15vWdzWFVeiONKhnJ2aV48eHUK1wRxG60w1qDTnzWA6JfrpvjU+s+vbZBwySJQPSV5iM3es6VHZnwCeC6Oh1mVu0d3DLm5uKPw0HyyI9LzgBAn2aT+21UCjmvwuQiwvyf5/LI4xPHOAfhDo/h8OIlUJ2u/Xb9lSAtTVMmpK77xOme08Be+xP03JNEYKJxDABoM17lrZ0fNtS325lO8HHYUBE4HQvLWSYIbAcyJ5PVPrPj1v40d4tMsjwAS/dGEy3UvRcrZizvB5EbBYAbmcfgKo74imRP8n6SB0XTlgN3viQUT6zuQdlgaVeA+0j3+JJfyQYCwYfdC7V41rrlQ3BxU/MbleWibk6Yw8szCRieKyY1Ah6forrVaxHEfUnUWvQyWgdY0bv28Bfjn35NduelQhrDLQRCnEPYlxb7QuKCUqT14gWBwG5zJ8jbMczkOVBo7Vovsw/Dix0RuY6qi8hDpI6++2ZwLyoWY8jVFQRvuRSsprzCKQardD8tDD6tM2zfcJkJguRJvPw/73xCJQYK2cE6l/04t5IF6KOVilVRKlUYBKnp1RAecISEYUiLSmfraex0toISzQJFcgt9s4RkgC5fO4G3ROSo2iU7SNzxs3IY8VgdYR0x6owj+d4DK5KiN6NLmYIa1F0U/8kNAJsu4zgFenjh++Mf3t5qI3pu11KY6nWjeVtqmnAtfFjK6RHg3Kna+Bn2uJkV8k1OSlkf08pSMhGR5TwN9+wKRh3yly+CoY01tjaDnSv2ZTib0kVYnBdrcxDlBVliNEW2XpaTDXs0AqWrDh7wjV4QZTTQNySwE2i1Kkfi7GrSnwc3/skH0ZrCdFaIpBHqppw98TADqEJL3Jb1sFMAjAhQjVn4NAK5PQrNQwvm2Ck1epbVuHjv39rqaUbalov7CbNHcKGyvSak4CPJZKBco3EgoZcjQ3Byir0vE44RHCrQDQSzg8F8usSqs8P6Sp76hwO3P/NG2TGs6Ozd3jHReL+jqSICqoOqQI8vzk4yBZPg0ZOjrlm0A07w79j+Zmjt8+u0Yl81HfYXO78tgsCSSp6Qdvg7AqThZh01kwZq+Xxeolos70XF3gkEXyjT23NblagZ3N28oznrR74pPfIgQIAanyGnVMSjqNP643LnZox0pNzp6noeKFD8rEMPseLHKiAF0Zs+TpEW1YaBk+L42zYGqTwnpNiyszqE32LGMspqM8UT2lkV+cPrL0tvAowdgitHegFoJyA235upcL9jFm88ZmNRhp/XKH4WGpg5w/QFbe21lrlhUGwA99Fl/3vQO/cWzBsz9VU+NFLXbaXFlsjxpoTpr1QVFNtpO6CAhDfRjIWxWUG4953pGzGEfRg4/wq9o/KJJqJ/t3H54DSujJEdZ5hAR7/UBbWq2gltSTZrCcn/vAkB7G2PwZWc29D9OJD/ckFfFqzGDRzWpaEbSZfnh/LFHd/D+wPfMQ1GP1j8DuCn4B+IGyKw1Kjidj7wFLoPGngVkTKuIYQ+2xlmCAx+tzNssgC4KQHxdox4Kl27PuEzBxde0Dk9nDei4XPcjIaPovM8UaqyA70pUnAcm2008dH0AL5LFUedSyrNLZjqJS6rk/KBxvCVLsDiVEpqLuIv29sPcuG+wL7vhOuxdcgARLb6nK9oU1cc0hTMYQvvUsP2DqMr14J7KYRGke1M0t8z0ZPL3JF8xacdgIjBLMRwHk+8rUSOh8OZnnC/Dro1Xjbwnrse6JrII0wNH0w+zw2Ut6+DwUli9o+mT8lrZRnPTNEDCqg1OqwWTy09LkGc6VRnNWEm/6+w/pis1/URR2MlfIlfoSf2cASpscLkA1cA+mIp9efyjzgvqtHqx1nToRsGJJLBRJzDI12hRzUYP+YoIsCJuhQY9im1DTrcJXWq+DqDQGkLVLlhfDSbGNY6wSLq6rXRIRUYtPo0Glu9jj+oz+cq2Dcsp8nfwJQptGF+QSVW8yld2Z3FnW1m29EpJugAMHdoyeCnSU88d8iz3nI5IzswFvAdVtgrK+SdMNpZw85B2+Z2qWp7fkh7FTwVsUcrj1Xmx9ogEpjrNJcvAQ2UZ3dqo/xIxyhPnhQVqTH6eeHgSY2IFI1NYSryYJKgSWTYrd9yDOJMAFSBD4PYY/Ez+FdGXzRZFqPGybG5J39I36mc796PsGFcoB+5O+yTFqyin07b99RyjnT3bNrQzsSemSNllNAtZLacouoYIck9ud7o+kGPMdfEr7PFFiUAdHDNvehcQUqDyEu0HNBuboxCZmLCEL3tR514yEyWWhDjkizBTp5PEM7YuAD127zJSwFR9RJe5M1aw7ahCBj0msC85sSzeL8M4qsmjGzJ9ipHvRJRzmW6NcaHXJQmwBLhhXg3CMazzq6mT35kV4hyr3oXoTVXnBhQuUsT/8q0rU+ZKKIycib9BurSbwljx/np2WEDRCmgYk0d0XwFqa59aWq7B4bPUQXBs4bRsLPaYv8HTnvinUsMwDIdssQZaSn1XsRVHS32NqG8vsWmeM8xh5SwjsHXLpZFcXOTde003W44yXa56BCrKlm4a8xm2sFjzeM4KGWShyLT9uOaeDxkAPH46lbpTBpyg7tNX9F1miflNIYNe82GOpnkboHyGHTH8vbZWL9MMT8ZfcH/c9YJQnynA6QIwTabQJmIt/h1jVZGXCJXnNwUh5vqGmdizPR7BIEuBQ0BBG+PIiClEef865qUv1X/rgBcZZxLVxbfFDhbxIYD2uc4K46NMhlnN+pbrh+O8uVaSg/CU8JCORzTR0CI/u1qNBT5a1iKB3K/mFo+Uiaa+sE/hYiMfnJh3+gu8Dq3JxbvHB6SOvM7304EZBdzl9YTNb3rUV/DekheKXZeTyjxAGRhVBS6vzxZangSFq+a+QYgrGs6n9RlsOmIgKSoOg4L1XJJyvq7gG3bkuaGBRIlK3JcoDke+6z22ExmENPp4JxxGOtluJudPzinLmxyuuYTQRCz5fSFGcF16m+VrmIEbonKnqqU/EkUBnLvcohojGXuVA79rb/XwXhRzbInsyhJdiam5HzGcN5Y77DDxi66HJt5/19y5pAspuMXpkCJDjQZP64PRQiGIYu/+5CA/ux/yFVDJnToDvwOIspuhUlwKi+gfx/Tv8eYJeN6VnWgM2wV74pTTntQCh+FZ2wC/vwz5V534ZWpUoWFagsehSrZtHB1UH0cN+1QeEtGRxwpbp7Q//Vn4c6SUTppdhKRxOjzAXFtun6YU4cq1zC5A0sxRtKEu0RJIkNs+wtU2Mckt3bYWhkliE4i35qvu+1BCFrMaV3hRoaPz+mc75ihh5l7c8ayJF0o0Ejk1YnRl4jfdi1xAlKfHPMS8PGdmIKVld2HAdw0Z8SohEMfypBQObznXynsEaVwlGc6Z18vH2ReTrtiINZqCPaul7dWC8M4EwnPd6aFjIIuaYM6VrgvcR4Bcwl1v60YbmT+ubt11kjnXz1yIAgkGik/uc6wea4SSBr8yBZjXSUaKRX8P5SCfJNgmWTeAPjrpDasoxpEIGMd83FTId4ys8vuKlx/ILTpnSdJaLLNAeGf8tW53V815NTUl1z0wluGtExd1n2vJF/k8EmZUncK1fLJd94VSewFwwcS2pcPnXCzCDY1A3KefhCdsbo2940KZV3N/VnH7a2qEboW5ZP10zb5RPKNjrLJXnrNa0RS5+akaP6ILiNXcKcJAt36R5WrPklTsOsvuuAvslz63Q1cl1BW/td/uuh9i4b139zJjBI7cYkQl+EMFd8/Lbr2On/BcsnfGJZO0EAmAL0WRIl0I8fKyHd2uRPMcv5FDd5AhDJVatyx8FAutE3N2RFryKHsgHj8nSkRtN32pohWF0JS63Zcgjn6oB6gHKb5DHhdapJakYRqC3HtXL7JYTgiquhhmpYb8R5bZYyEOS21rPIJHzaIczNgTAl9sJ7Tvar8YKAR/w1gG5pnlDCrFL2l7kSgnYSnRZGYiVVUxS1GnwIuXp7RvYG7tfPvtxI6yGZj26zXowVCDkhCAFpu1SSSq1D1CzayVTuDG47G25rgsSoFvpb4vQZCBfyzFLgeQAWV4OJBG7yMd3aED/1a/9bglMzdX4i51tESwsoVX8t5Zld8aarpnllR+CBcvkq4wOPU++Iff88LDG0u6QemM5+HaqCoz/s1Ni+YW3fLDAy4bid0pSKoNdXcQquAlb0nKNXQqDkOHr7EAF94KJuw/0/0BZGvXa1FQUhrBFrRgZTMn/9kwB7Bvw524GuV9PL9GK1T/1mGGkTsFbzXMl9km1/j7RLvKoHc+NFUbVKZ1oyNXv3nbx6Qc/LHrL+HHi2BcRvAST4OobMOb8M/RXw7W7Dl78i3bOxq+Kp9uHcqYPmFa6gawzgQKCayCinwL6wIqZe/GvO1MpeZ3p0yDrX3V1Z9c14qh3aYFxj6d0Uxfgd6jCKk8xk2winiYePqK5IYomm6CbXnTevFnXx67emF5hNgfOn0wmtmY72cHUIIBKUUua1s3kyvC6uM9VDAAOAHyTNx43MHxJC7bQxzUdd8eDGRmANC+HKygpKHf096mRk7bZUv6APlZlZsVik5PZKXUfOedmMmCktKlFz7G1nawOwbgFL1/Bc28iI29y1cCN/57650h3ctQ7fDq1pwDPHtsljLs0KMuQuRteaXbKRgvjRJDbymD9WYQPgk3FYvCKSXYEyeASd9Y459LSeMohwxd21Hljiz/GuBA9U3kv+0Xjb9hVrsS+i1BfFZ0B5+ECZ0g10ic5SnjBjzkQOpcyVUwpyzbc0NSAA/iyzSjhnUxJ8RXtnRisK11KvgraVNLA6OPu3MXpElNZNMkSPuez2JefOWaK0Rxp2lG6MhCI5KJy4D8wXiOlc8iIfdAEX2uQPeUgxH6ZwB+SDjCBqC0kt6HKmIT1R6sTrCdjem0GkvBp7vCrcmCRhwbGV0MMX2s7bxPphA38LKmoMi5mW6ExpvC9cxDO+7aDVwRu5mTvYOlqU4SmazrNZNkMLdpHVg+jhZXGizfVWwxE7kf7t62SewqZ7YH2sDw0rnPdDGcssbZWEV+OChbd/4nn0AtnSoeSimBGZuYZ/NjKAoONfvpqyNeRyQmaVP6Lz4/bs2QFNZlrYgT9gLxuPuwYrjlE2Ovx+MxYQ4S3WmbyYVpVU0DZRbau6XlJT65OSdb6BzKDfhHw5g9ZYcTMfxvCqTvizmkj6PktFXutDF5p5LhqGYz15nS8k0wkELs6bltlDV+nyhLAv1gnTzpBKzdaY8APUmMnH0VCjF0An2bwiUHJtksM0nUAMLA6ktv9XlVOOgtJBHWXg6TpFkOvK+6QoMB0WI1+zfYOGgRy7qpqLddm26H1PHjKpReV9zoQTekO0EmSKyFQgDBqZBinmtET8zmd1fLxtl9hUaVGqnp0s1YX6Xj5dgRshyoPXrAPEHRum+Msy9dWfH3IaFSFrGvwhxDukD6CHufw0gDUhNfZol4N049B1Pnpc8qCC2bvK7kF6o8jCHi62G997lRFJ91gq6hJuoQRrfnRuZqKW+DOdkmZRaS6OAYMmuGyMwrk/V9pUVsd6o+8st3MzpFmFuATWGObM9/eNmK9phRZqJ1lbMyglHxDMEuaGFzI4LWvaB+egGiu4JXKSjSLEwtSQhy9FYualNXPUdi73p8nH5HYTo4p7S9pG6vkBFs4SBb+Xz6xhOA77Rh08JBTLGY2k4CZ85KZjZ8VSYC8RYFIL+x23f15LSWwcz6+sXZoU4AZhqgX+nArN37+4iw9sdH5zAI0Qzt3EzWRG+R6/V8wDUkyYZECTELI6Afymnw4YFy41K2g+J7O1Xhu+yDDVq09wYUFInOP58B6kUVgrK+6nk8KglJ9+lROGvLFlvsosPpxyEm5BofEgjY8nEsMb5VNBuultosyoXswW2dIHjtm+Ztb0yFs275RKXdjs1xslRBfz/M6eMk9RFMN9irP9vrgTjpX8rKj6YUorC+pyP3disW8g+InpICkoxiErbhVqrs3qyOPQyBwLe8PetN+gS+pLhbhoEPt2IA5CJSuYZd/VHags4CPikc40NQrvRRm3Z8d9u0MtVH1b3Bej7oK5zxF59ZeYEck5gkE5hpMbvtI6m1RtFvlmycshIadc8aDI4/M5PhK7aV+eFIgf789VLTATUtFHKWEaK6StR00sxDss/yTpB3PhnmeEC/46FBWdQ6cIxkNUIEEc/s2FqKq4KAxiun+7RohCk7ImKt/gNunIHDPK8Wo+7e0gOpouRPXuKvrTMtdnWVMhT1gZV8jP4QW7mP1xxtexL4XXZ52mlnVZ9Yu+1i035BsHyqTmiAR5TeBo04Dt0rKNgLhZIQ5ZUKMtJdYC4j5lhItEwuPgv5asrQ4lrqnGzq9ZtfDVbSKIZfhYpRVSGOT/0fI230T+FO5mvIf7R58YkzVQfjnUeVW0eVa2bLsbphutITOmY9UpUgC6s6IOe9nk2StWkSuvfDMeFldDFp4s5OPcoX7KxCQd3j66Soq7XAhDF1w5nen6bh1E6/GrrFoiHheuYdiix8H8jHEnP0eKcZxdbdB5aTOhwhBUHfTqHgqSB8k6MmBI8jXKbymTWtluuChdKtaxYYFXRau/dcW1YXuRV7rdBYJy/ZtGVFGimGV5MrxzTgTbD3f74DzNx3nahj6wl041eowlSFCEGnXMEcRjD/9TbW433VPJt5BhjfsnxEHYwZEuSZagwVeAxizyAaB8T3dKNAqaQ4XMyq4NoGhXfP6ElqDlMxPnfMvX7jJ5+RotsYbvoD3NxBxnMhKvJk2xfjHR9nbc9BE8gkWVvbH46WMaPqYhtC1fdtvRCZY11EJ2GtXcdCP8tUIEWZAeMH1wE4GSGqd9hmkYU2dV1TEbLiF/UHF4kUJZSaWplV0Wv+bJqdBKSAHZ6JOxdvrwpOmTYjx3o2ZWXAHCmVEdMMyWn6Gp8yIMg7i+gZUVcah1sSMRaYdjYozzrNuaIVgpVeaGhFaoU4eB89LUaAZmtdfHN0Czw5c4oBEr4904BARoIcQHXHJd5gnenLyr/prkGA8oA3xKJmNGg5rK85vRHzM5nDIe+JvjVwxGOdrmTuZhyXJK1rmUSNh1bf5TOahES1mR032LhkLoevVHMukH9Q8iy+o3jffnkz4wXA8/XbAgn9bVt2cWAosig+S3HPT3qPPxH2xAaIrQBKjEYGAw2BTE3lToEcv9IJIebCEZ+hB7Vv+UXKutZo8siE0s+DW7Lhg3243aqLkBL+guCaMDp2pVv5z9yUr8QIgPS57hZDI3SgPk8IO742wuF3Y7yYN0L+CxNJI0cy3yGE0/jktAjkPMlnhNpXi3YeRrlBNNBSznLfyNdAVnNkToCeyKtcouQmoSA5OX69aY00Wi0g4wnuKhLbGDHaDRjVE3lF0IfIOgWXoWXkktwRMq9Fpb1R0mSWUdiczYhqBJFl6dFHlolzzYEfZ1uRYVHvdNa9Z3/8oVvvS4wLtaVKuIiVpIRtteXSL/1o3N/jMAx4JC/5Y6FjZ8QVdWweIOI+0FurqPFqA9/W0lKKfsva0htzwtvHeUXE+bxaA3liA/otByBa0X+5YR7ADKjQM29vQVprLu+Ar5yLcU93IoSrDvHrtoNU9gxNXJzMCVsHJ39NZzxd4gv6v+se3iQ9DpJMlUIlC5GdpuhN4KF2UWLlXoXPPkq+KM0qpzVWlt2Mzh0TdDH1Uk1rrFcYeYWmwZb9oEPdhz49bhZs1YpY9KTUMNWvvwq2SARQgGWg596sLhrdhRaWL7G6VXrug2Lf0ahDw9T+oRGxBtJ4bDzsXhkklZW1zjHzvX0C+qAyTL8TtqCaa9FN+BIHspaQ2FTEc20ZjrZXznQDkf9o/gBAW/TkJn0O+YAW+omqsW1xXDI8G4lN37z2i0GCg1WLjFlbKsV+H0LddTim3AlWai8AGW6ctW42DHC5wDRcKullMEDJpiN2pMOVDBTdrbKXIJ2xwRZDxJGDuNYVc7VK9vDimqNReQghB1knWkgTACjdS9Q5Eb7sjkB6OxFSIv2TVPZFuxZGmbQE7x7WVFX8etwCucMUpFVUqB7OQhkpQYsnewAuSdJQ2R3cEpyrnLv0uhXE6LMxaLoqjHM213/UsvD93WA6UV3gNz2cl9VLzutdf4OMgblj3AtwVxYhfjG5k5dpUGnt/VFT7uZrHvLERM0zt8YimTdbjqWNMoRWDGZrRLlvbsqVdKJ5YtBvxpqSXH7aFT6mBupCnPvXVBndBoO+J2axT+R2rMz84gHLIhsqlb14vwHUH+YqL6j/pWRHTgIPExiFxs4SYkaedMYpa0gg0XTygd5gaRd8XLp6ql1rXu58r9dHxqYImFXLMlb1JY8YvOfX1oSzQ2tt7bFgW41oGs//gmLSo083L/GprJF8LBRIqEVeHMjCCUqibMRZwGo/CqoVhgYKAwaytFFKLER2X7WErVMfM7eAwp4jli0RSzUnbUTSFuheQQHTgdfJdQKbvphwRVe4RP2yvoUzaA4uT7+g6bJeZL4YBjZYKYRKReaxNRZatGmSqf6O8JPhxNBPedCHMB4boW7hNYh9ssvpMotPKzMwdkwNgEtoomE0xdcBPEdlHiVz39cpM1G+aoMKBsbED1oaAFiP0CMhCD4RXTVcG3dMAks/n8VeenzXgLdx5OKwg2sxjU9NC49dZ31WMEWcQSyrWSoWhat2NtHBZJTcGL/JRCT+0ZHNrv770sFsNpclPkQMxCJ7F64UAw648lBPbwfzGLF/++i8gKH9npXefGr3MjHj1su8v17Y9YwaNham3fjYYJMlZBTTj2tMxXh+Dy0l1R/4ju/8gJLzVR1SThoa0PqLCgpw051eRq0F2H+CKQDVB8iMNdeIwtgS68eWHGIXpcy9N5tMA+4VjdDCZXLKav4/yYMl/jVTPFqnsi9WfYyy4aYwoqiAK/+sOkI6J4XYIximvItNzgixDXMmZrmbeOTmdCWsJANsg0YrDfON5bZFr9VsLAaW7k3fNgOBd1qMtEuIZ3Kh6wlgdfqCT2cXN7TdX7zfFOOSnYYIycNdJVe7oJQGyrCYI3HmNqYJeOJNtPLJWTlBFctD9KpnEHfWhbFPRLBGEDUjqSpQQKqXLKr9fOnVy07qHKpnb/YR3OZr6i7Z2dgPDT+tDDsbo88tdm8MsknkFdSNWb1EuDs/bDmzcQVIiD+aSrY/yXLS0p2VVMR4Lbbde5C5u6crMETwzxYBcIav9uNArfvqEpGO6jzLZaIw79f07PSLtrvlGOFccTJACB32HEchsETcLel9RASKHtj5U9ErCCs099dFfG+ymX0lZdXNe2HVz19RGVrmg6SrG9OU4pdUnBk8saoF/tEzTj/QTEYCU1de2OrkckGw4JpOfZ44uWI/KFKSBotvulM8/RXxpa5oyYgNTr0DddU0+JwEVN+sdj53YRZKEUT7NBSoPi6qYqLI4jGlnblRU+I+RBhBH4leW//Qpw2f6hAwV+T9YAr5TUidqyGKTfH3PbojYGM+9d3xuRNZj+r+i+72RHbr+g3VNYtSN5CL1gE8aB6m/YLtFk87BauSKZo+TWl0g3pFgsdnDSvliyEo3Y7ZaLjRqbnawOGh/ZRsmKSm5MFKQ08HOhapjrhmVUvEi+QodLUKa9VW+6q+jSTOb1De6RyVEYZRu7sfHqEBln+HSKJjOKps6aoM6GKhS1bDCnQUhm6jz9Dh/EiNZaF6r+vqtFBU4+EQsB6P29wWpNNjzMpUQ/7cyX6puoO41m8cX9w1xNn++NoQHyLtS6bIC6ED7vPTVhdI6Ll9d1/ncEvxe3qqQ+3g6Azb98DZXOXmf8i/etn+dArFJW5wxlExhpBelmFjXZR8bEqfnP5rskRuzBRzr78ieZtx38sS+RT31IW/vmfcXuiVQetL0hQwgB/vkkCw8LIyWcbfnMgiGmXW1VoBTwRwAmiZ63ywnbgV93lJBpQRmVWJgTMx8rkfW5+Uq4xeUavFDdbQTYtbK8MhLquXaKGpzXGOtPqJzcZLXKD+/4XXr2UpdhpwDtePgz8bH5u+ey1IiJ7q+pzhEvuXl+ICK5MuSfA8N7Ofs1UWRcL/FI1od+UFp545MM1cJaZ6Zxj5wD41LwMe5muKc8zX0IWlYz/DlOu3yeDsRaWDYrix4SWiy49W4o/NzxKD3DgY2D+JLONO9G2oZbbdw4VkzMej8Kw5IlY17uvxVNNOo/uNgo4xrmuH03aY5ni4G04xilFiOmIjc3cR+AFvTJ9JJzjFBWkKhjxFK3Z+hMFRetlfMn6pngo2MLqcphsmy3OA6lr1ta+GVCOB1AVEBh24SseNXSW8AtFmG0i2n8wdkGPN9TW5ho2wzgRt1a+y8xPBgSYyDzCidDWXRrZvhqE2J0R7BMtCtZMJfTY4BdoQF318BI0NDIPwMMIuFuSa/bGAhPwTYt7DSIkI8eYBtdKSouz3x9bI+L1hLqPsS/4UtHLrGDaAxpMUIeZRY8Seg/iKPpNDq6YsFgpyhBa4xvnsaGHJY/rBBsz3Mr/ibJqSvwgQ2FN7xz40KoF3BXvWqs1isn+aYKrB85IWpwiU/zy63tkebJg1EPVOELQslMe3fi4KUX7gmK+VEtmDEWt/tcXJHGeahAWaHCgv0J3BmR7/rTyZI37yA/wjzVbKs019rQnnM2+/bW/Ilx6i4SNC4J36wHLacqhp1+LeDedSy56WK5FL6uT7EAEX5WHgJVO9Fc0AzffePJ/KlNAkd3W9C1lhaNaMTALXu4CzGXxA82CeteuzOyvhsd+nE/Zw4hFYJOtsH99B/QjW95llCWwlfOxueNJ1N/7LnMSYt4lPUPTBZJOs6HZLsN5zRsdWWR+7jk5yOtZAGr30hibk9ht0Z1kIIdOm4FfGlQoAPVdrZUJXS2zfKF0Gb7jF40eciuG63MRwlE10haRKwjfl3x9cRrYnN6CaIKuWRjjQo4TGEoBW6p3muZF6hyOfA8EeQp89RKH/MGFFzF/WAV0HIJEWk4+vmv5TtDElU5V5ULxMq/Wa+L/RWGVFVvhpEkQSSsZFxyYEdagaoG98SOAbo3qJ/8tynkHqoyRVAy7bNjpVoGo6jEMsmGOJkli8d7/C8Tse8D2awcby2Q06c3Dv7mLOBqXVGHWvQMg3b2/U8504sPseS5RMJuDgGp4bLODw+uMr28SNkR77VDW6d3ctwjSDAq9TzSG76YUylPubr2Xqx4EyDWF9nKPRzzEKvm+gMeh+F5/ihBKPPsEaKzLpIYP4xEoRibCEURwYYfx4tRmheCz/uZ1+EX6qt0bMMhzdPpBHvvbXl5CPvRaAuxhtmAAurkCB9+iYUo+xFl+a4MkCFrvhz+3ikpATnPossYOThU5G8/ZmW6CfB2AiBl090FgXWtuSlHtJQpyQ8KcREHBak72aag7WfKScI/aMV2LXmaz8GkaYaNmgJEgi+kSXUlBqm3dtSjMEQw+rBVdctuNZ0Mc1qaX5gwLajRnRPKZzp5edXU0CdRVm6CXevG8HAvFCqASD6U6etqXJCeKyr6psWKSvFzVRIftNzOHkFAg3GwoTYz3wx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/vhKJSTIl8GFBHn1RFOpz8SMIZWIDGBD+ByrRJQjbREkbJWS6HDDJBbcLO7VjSMU6D+lKFy6C5khKJQ7dMNIQj8hxnIkjQN0H3BHD3VSxSj7q6qN03ah+upMIaOoU301JCr8tbabyw0AHd4MLwo1SfNmNrM4pdAQ1eBWeu3bAALcrleoRx2NC5EGx+uaaIaNI9kZh0TpxIu41jp3J1QIZo5njhOV+3Du4B6HpyYEz3EJ9znrZVcOUaL0vXdj60rRlLs7RZa4lTPidBa6R0jiFbeS0mI5Gqe7ZnzUfuszfb6gGxo2u0U6C0rUhsA7dx78FMjpZpqGj/qz9zYQ1LNqGbcnMpQvRKYW0vTTi8z2SzhzNdoR20gi85UwQPeiPbHrqQYqbh0ZDOi8Wu20t9+8b4/x77TKnBhoJt6fMBiI6imitpi6v1PWy8V4lCo2EO6Ij7e8ogfYrVXq2ZJrrkLYVjmxG8YSIlwXIUId1JhRvd9m1R+2zaK/SSdmH5vTtmUGFcEa9w7VpvvJF1zVXf45p6hoOEO0xOdfh/cMLEi2nweyHEpZJPhJSTjcqaX+AqSM7ZZLqxrji354ax/IqOHkdsDKC/kIMDrGpHkVCn87GX1lSEsY7d4F5HRKudSvy55YZd8Rtune1ESdqHnfgq0aLR8cpTCG2d6dmFbcDvcfQESNTxvTafNQOqb5GjQFRKMuCJjZ0RAkXjpwqVwY8RsnWbJX50gAp10FgHXi8xx6k7BHxuBCPJ4H7lj2s3bNMMsKQWkdBbOQ/T7+9K/TV+MOPENVobtBKJdnr92prTl2Qh7/AC3eCrzJ5VqYIGkqp+4EJuHNiU59mtzS7TSsLN0JAhCkEllnfXdg6yYBq0KQjMO80s5OxfSXRJ/4ukOxCBaLOSrjMAbwe5Z25iokSyi9458mHSOn99BONyUsAupfcyLG1dN5GMPdNWh6ZFC4CLHlr5Hmy60UaqZtdV3bx9o/t65/fAK+awYpc2ySqWeDoaWw5X4YzPl26W7Gen3uNeeh+gmzEfuKexC6aniNQCchCW+N/eJjnkOCnfDB21R9WMsgA4j5my5UYGQvPCxv/BePZ+qV/W5VgLBS9v85mblnuHXg7LUDgh1rwwYsrPPpbfkHZ3coCOmAoNQ5T8L45J5pvsBM3YCCAq+iczD9bNjT/7tLsx8+luY5G8iF46Obf5n5/glrQXS6mvkXHVkqzAb3lpYMGocBcQsSZqR6XP1VX8YwEr80BQwAbEHzrtXDaPFIZZhOym14nkldjwLsQWX675Ot9KInSwuFbqHJi3YD7zDnODDyJ1MqcloZk5vDn+JssABtoP9ELpYy8FJmLw2QXevUDxfi6ppj1xtIjQWmGI1q+ZVFYIIPyETeiFRdCxdmmcrgftVsdzMgHi1xtM/nqH/G+TClUcQ5WgZUs8VkLbAKucnaravQwtIbkcs3075/UEnCwWg/cxeJRuHpRBfO54IdwI8FAJJfMsqp+k2/7nXclyOECPt8EhYJ35FNKBOXVQzEbSTgZx2Uy6i9mD3YhnSVWQeS+4GviGHMFRqHFA7V0Q0/bk7mbDC/jVXBMfifTgfQdHbmb2GuRANoWxva2Bi3jTeFH98L+i2zJYZc1pW1guf7x9Xt/IZ3uAtJK1tTIyePgAwfRR0dF2zzlD+wXG65Lt2AHXCJDE9DyfAJqsjFTvxPSiUCR8zNQSdXgyGIRB9GCNdjjr47i0OVPQ9HKzA9v4x/a0ZoKxpzbL7UQV/CMHho56dovWM28U0hiCQLx0D06XFdCm1hrxnla4gatZFmc4XvWiOxJ/fZsY+/5Ofk+DhP9J8s+iniwqWKpoTRlh8D1QrP5ZsxVznORjqa+xFYrur/6uC8xOeiAIGnQeppEHtWoegi8SrSdUYlITfzhFN4Z3qAC7FWkU6yQyIgicrznPalhcZhYE5OvXb5eVS2vKMG6vZjclvhYH9hTzLBT2HhCuqiQCP5t2Evnfdx9fCuo1W5PsSqKqREmJkFXY/u3dBG+axfcNfmzzu/dBnnhRtHPel8eIDQYodbyZdQerelNM7ETnVfD3Wejtz/DghT7qTzbfKyDcVHttiRp6jSD8KQpZL+VoP7ZR8hLa2U2LHrqLcyG0EHx9sUCv4o1g+xc1Vp1Y2263MZj1cCWS902gRRPvhTcr3WSfvA0F2Ndznq7rk7DrN0o1aNFV6c+O4uOgLi3ZGzI2DMYVU36JYFOu2Y9kB6Rwk1vG7N33onYlmt28mvxXWoinyywBWrFbHnRf3eJ2qd4ALIXnMsknpquubCvWXxqZFJHULZ804ywO7lZ4mAPlbsg6E2OBBQSKoZTOFMoszKNkw/qaBTy7gFYb4YAIrVhTCVh6/xW+N/XLcCIrI5oN73m+D/ypR2j5DGt0mcVECUb/QlBbaccXEdDv/sHkhHgFewhm0X8L2U8xHc+arSGy2kj8SRINaTj0BMhIJfd4lN8UMmK1J2rx9+Dh86zWv/MySLXi2Ji1f+pguOWztqi5/ZOEoym9fmhw7l5nu4YsEHS8Uoxz4MqmHBl33ur/WqQFWgCDP/3NSfZJ2GYu3Mv2TOxGtv0Fne4H1RkV07nL4vEuFyq3mIH3EBSJr94pBTUYoNrrCOGrqhh1/ePIVlxqJgA248rqEpW/Ij7UvIYFznwyz0KeUINbvjSGXsQ/glcRDYCFRkw4AMbUgQUcSOJg/E8p32dfIxvB4wP2vyXBDsWplt5sSs6I/lUNrgT6LczK4hKeNUU4RfRtS3Fv0dIn2PxweGd2RMGJZa0vjiiMIH/UOW/l1IDs8XK7yhZKZDzD4x/vi08vEkDIMf+GPDfzSzu7tWbNM+d00C+AL7iQqHEz8+9LUZ5SLceUUFfmSMrwL5dvhvb0XC8vqrMfpokA6ikPR/B1JgHHJeSUKDjvSzJ9cCe+1ioMpXMoQ3ETeE4x9XySwIU5dcGV+SLebHQlX3H5KmPuF/df/Tsa6t5BY6HmcD/PoNhG+xB1m/9hIJOuU53yMrKiMqYv+Oc9B40bbvSiin/rJhjt7Fr+BSezMMzUZYdgnnw4Igh9kqhFt8KRePhRmIXZLYYO5QIwD024hDAquakidGg0fABqx44Lcm+GMfGFVjU/ztfsUVL3Uid5erBxEfF/DKTvMjv0okoEmnQWi7zi9aFpCThqCC614XoW7dJj71BBy0/uLPcV/Mtr0KagdnQGwVL0pSxNJCn/FJlZWait3k6P/x+R0a/b2TuL1GLHQDEDe15L/6IB79j/xGS9JOR18D9fO114x/o0kpJwS4fcIbZ5NTYyVN/1DdVMa6uwjoiek6k0L6j0wsmGPmj++V/xNG77Rh8CYgV4TWahsT0yDn+5WM/maVGRCLPmYY40EnXC7aoCzX6rD9TfVYc+LP9nrdJ3VapNesQZ0vJVr3Rp+/XBLVV0xJQJoaTPTTj3w/v6IzCo9M8zIGGI+LPpX/bqmpCnJR4IAFLAY8eo4EzPHP39p+Q/vADNX364+M3EqzuKU1eDC3WSqjT/dHZCCn5XtBoAfzZy7FI1W58yB9v+5LbRp+TrUEaUKBqb1FCufnXTLs7sQ6BDjR0g4ojItiNadeBGnhRYSef8DLHqR2nXXOBmZGsUiksrsbvtaqcL6VfysnbULKkkXSzfDs7nFQjhLGbfkJEVSILKzpjrUTwvdi9R8CiP25HPvH50QCUY3VMYqZmGr11/aGIGzqJ9hLSVg81tz/T/PaXfFT1QS89q3jlctjSBBbU6PksQs1h6WUrigK0PBUsxN3Jzx+6qQxPxKgfcSdc5ffC2ep8Vp9OGqzc4BYW31h/y0vm/yTMtt3SsvHNlDeeVw++PzG/Vi2gnxhxzRVyTgILnb1E5JWQirD5oLpCcXh3Al27cGggu1we7ex1Ioid5YDHm21jsy+cRquYJKEbOAeITNpFW5YDZxQVbwF1VpHbzalEw0UKZ3QLXgccXbQIZtFJ79YaNNLlLPfsQ65FpB7L239Yq5hNZniuTYGWDNdQbc2JI+yqGpd0y1bcU1RPjx1OGexW+2Z5leTfQXMTFpJeTqxg3yWUxhuxjw7BIQR7qm9T1SM/Sdy/87W4rdqh6cwVeh9YruFQ87oF4DdKILp0x9nIs3OhVQJ9lc2ADeTRcTfIFm+l1+Vm7umNsQddv3uzojcPhjlz43BrXUIDCP9sipn4g3YtedkowjqcKhkcHMJlOCpGl+FThSDgFuha63a+zUC7DAwNLt2QAuIftFfPKjEgGcViy37Hj3wFIL24zN27ERRM8S4L0nJSFOJUQ/X8w8hurQj41UIluLEGl5uL16EOENIAQlZF/CU4/4fjV7lyC9SrE5fVZ4lKqid72sP5mBrGyXXwSseHHkWCm+6gVohGftVnoGNk/lW9LFcONpNoyDrjWk4FRBNH3+1QquhCwgoJpbk9wFpsP493eHujZCunm8GfAOs0NOHMsc+DMuSwv4I55VV0zBHU1/GsnTTRWfCUsv/1/fgwUL3/KobtohudMesML0PqbuatpVANNZZknqS97p2j83YODK1cTSg4rI+KciSaHEqaXXqnSCtjqQSyKcAhBItEg3B8Q3XThJ/kQrTdl2fCbbpsFIHXmmoU4t7YGMl74UocjgLT4L+bNiw2wIFL6r2bqLNNCjXv5tv6R5tW6RCQBvak5x6OKa1w+lR11BqjJDz+NixRX69RXVTbgdhXjUxaFIDXUcootjWdtoMSUqX9hD3nUlM3RdZH/TPYDq/pe6/wk2qVOXfLTtteDXzM1PwdhVUCV+LYfN+Yqwobkb+6ReSEilE/dnW5A+Swaz/E2BvWZnET1I3LJrYMAkfmYcH9GX6gkXVp+TPD/1tJkmVbKSa9+GU9SHGm4PSldfL0R/npcshAeYEptPP0/IrmtrjZyXVAkXiDmHkAcOCEuPNDA1OrlUOsYy8K26iuJNe8M2JwEVMmf8XyLDO+UP1l7eVC0ClAoYtTa9+9WkWfWdKzWwm00H5nvn1iw8F+4/SKjDv0nS3tYShlXCtbr2BrddfUb91DE3RSBjNRQnfFBRoyF0fMBqs0LSFPui94eoalKMU/nqghctyuyLV8ClW6aEYXez+aqwG78LAmEeFLpXVZ1A8Bs1yoeHfSKxMMTMhk79jFG6iSXbH6tlLy59yz/diksUG5edSsaTLlL4ThWal67Q73cYgzUMClUBTrCkE2BsQLh9qovERI+LIxdu8v/AfC8YfuhJ6Bb/sMVs5wu+UBJrJZNg2j/91cfCBRx7+KsS7E6eEWkxNUml+51PRkH9q/VfFRdxHazNgG94N4nh1i8Ug4DvuUYhAoSA1A1QnAORQv59DTvtu+4i+R/RWQOYhazW67st2Q5SCoMlsvyJC82QlNxEBgA2onUKd+o++pMPJesQFnPZJ740+6KShIrz0rf9KhqJMmzz/3O7LSLtacXdHYtnky+hzH00Q3dOM/YggPKIRmv88dEvJCK2OfOX/oAO944G0WQ7y4w90jmVkcXgNRCurORseowyG3/J3qkMgiMe/6XGHc9m21iUif1GNmewhSEu+m2Z7sYpcwGX1piFi8oQ3eBdy2s/wxZaGUXQiDeiNRtUrbUUa0Fc97xWsorb9VRgBhgwLbNOb/uySyd2t3tWdIjHG9cVBw54+u3U7GvgWsbAIAlZwTWKrGg6cbGL7y7BFmIvo2YO+m8DAPlG9iSyy5lwvr/I2DLKIv+k8t+XGKh2PhDRN6y8jzLQYMq7eOGxkKhr54fiZzBofiMLiPad3JFfDFCiu0/m2Ox/aMP8Y3ywRw3ZkhvQv1fKdmexZ/yyDIQEAuX5ZsTMWEayxoi0zhzYXYbAYioF0F36lVz9DOmEaNp6UdpGH1LoJDVjONocE/JOhn347NDpqKncjOXCyCwWCwbQPUcfsVR+GDojHELQgd9tFVDDS/6LBIZKDE4ctCuY2C0RVRqHeStV575ZdI753SaW6dPyRjXRer3OGvh4FEkDUjov3m3pOZ6ZxdeNXAX97eE+/2EyvHaS5Rs27btDvnDFpe/Ksrr5MsZM+1+2HYTT8TFAZrq/Uacaeb3RsSNZdCDJB9CnsV9J9+SX+NLAng49GfaEMxBchPXYbBFSaRRZXtiDWuqc2aXQ6AaxnZgkkFuNhaR8FlOnosnKjk8XKZ4SmkmRdS9Otglbxa8WQyIT8FRXt/w7rDOe39eYZd0YHhxwp7wTCDR0+8Mei8HL9fe+j2FrBDNSbDOe1Jt3l55oML8aO2q4chUqLsS/CW5Qu/zURYFBimkyTWnn8GTst3tILTOD/B6BEEE8x1Yto8StIl4/nfRK/lBT/5bE2jLcQeun703EjWAdXLSh1/GCDNToJPLcWb8zEBb9veC/t2jd0e0E+T+eNKzcz0AteRBzdbSVQwpUWbcXHr6Tw1Oe/uVD3Rea0QrL9d3ozIcyy/fgCuXy3yzCgPnpfV4L6YbRcADgK6ky0E9zRlC5w6EF7AeMI7BVBt6I8gfrGkWAi7WMeoAfRc49aDnX3ybijfcCnSImVwjyuevnqEfgrdD+u02ceMKjJ2S8di1dnws1vaNkpeiHBACFNBkptFA3iCeiU21xBWxs9jm+I7fZ0DFBenVS1JSCY2yVE2ubZCtR1319cSR25olGq+iG0Twe83zraNBjUdaFisPI9BAWXxQdd8E32Q1qs1HE0reyKiONJ3BrqK5LPamd82pvkc5jBGBGtgHkoAWWVNnGiQQ0K2KKpOR3EkaSwK6QIeOCnUTG/Ha2hOSGwvvSF/WCoObF01YtyX/ZZZ8IdAeqWuRM1MRHoX4hVuPR9BJjBP5PeGvdGiT6D5CdtJP+I6FYAjRW2+NKWZgcC6yXEs6FwpbyfXuYAukVhRZCPP3VYgSU3eVKxS/2I90LJYolqkGXE7Dr1Es0KnlUrGpLo4tz5zlF7tJzOF9Opk/fejjQPec643IgHILEYwfScAIXg3+LZIKpELgTV/ySobZhd4Acy9uws/90sXcNtugUHwbF1+yo+VKHsV593pW1JhxAPcXG/iev7WOJWN75F5DnlKkXGNFYKk1Ygj/Js4Po9R9og2ON0+76EZgUDF0I/Xd8WNHZP7TDUFARzmm75Yp0KCYXRKu9M3InNHsxBr8GaVpH51jjWS5RdrUwLzc8tC4Q2vpCf8fSqpnBULr0uImlEu+xEU0J6fGw0WptbW0DZDjknqL+3Z19/xvPnM76w+/mcQYVwX3W+pwx7iWF+lCEtFmkeaWgruJXLVFiWUDUmKwBxPosg8rBdAgvzZ3xGxQ7XutEdb2zmZxnUCW9gCvc3jT5QzyDzKc4Uan2o8orQs9QNx0RRAQ455dhivi+D7EQlH6Vyyqs5SAuhjKQz8+GPqltBH3ICASGShz1lCXwrG72eXH6/M89fIg09mI/xn/b+eZovdHl4E3SFqONjnBiy91jYLwTF13y3pbe3iiJVfTtPKSMg7szQ6yaMhuHqaRTS7qyEsWQCA9dxR5tZB6r2p8zm+MSuLV6Bj3TUC3bNPh9qRDd84/XAyoypiO/Q+NyUrmGrp4wJs6dDMQpriv2R16CdE6Ewe9xdV9b4MHKmOTrDj0gAkYuTkTqfZZqJneKiJn8xlSE+4lgi4bq9Hn4oJ4XJ3UGm2c7khfUhhuuR0CFG0YdLSeDkbMpVnRKpYNj1qRjSYeg3+t19e1Djt9m/qlaXQLm6Jj8/F9q3CBV/BddS4QLPk7sCK2A3+OaBAhE2qpo4grBtzsnPbLqpbp77zXQabcUycoVzLQyDuJw5HFfeJLytPvv8vr5Eh+jNu7kEd7SqIpp30YIpyZ06uapHFR7DK0d6Jt2el1GZhtcUAcJ2ujA3unSC8M6S8D5Rx/3h9DCr2wVMXVvMERbhbpm8kyt/tBQu8AddvFU+BvS3EhDHdlcqC0aeLGFvpKpJ0+r6qwEIkqhLbRCMVzQ4ZEfc7ziTuR233W2dGOcwPfpj1juHGsZPYxYZ+BZ4ydgqeXjZ5KaOUEYIW9wSFk3NhGVkIMH9VJvjawJdgEZz6+IJnkfWYVb2geLnaCu6eaToqHD/nxOTgQZ0Ux0x4/mXWwg7KZoLmRPtxsIfuRRE6BCD05TZOXV3Z+Cr69CCSNUSQQe6lZfkb/e/ypddUz+6fSxz6/VRZlJIF59hvq6Jp8A8iMJh3953XWkyHPfkFNq5jdJiGACxHsCDuHWcHKeClFy+JoIU7a9m5bfhaEP01iEgJGafkxukAG2kDLLCZhnRzUUG3K9Y8CBTvnxkFMWoFPsZS2/jpUmr71/ui/T32z9EYECOVCfm1dxbkh3DJ6Y61n5f9iWpuKMZGUJXMePWLu1UdTilVVJwJws0z9q/zSWV7yxF/ScLcyKNkpRrvwmm1KXXga4L1pZyXp95PBWauNcAADsZknpL5e/nAup+BxtZMtZfId8pgUny9o0QXiHfqtFWdT4X/6Ja+G5zzostgauPoJu88uSX+0seuiJw8iQs+QvKykczu/l9NZep4HUtEc3Z49DSX+rG//VaRn4xCNp1MIVjJW4vnu+q6kP4jy7AIBZVQmUPgbhtN6jL4RHL5Jz+N7fZqQIwZ+St39uKiG2mbmsSL3IC9ff9ZRTr7Crvmk4RK02MdiKw44LZ8WacggNCruErFIIzU+IPR0xCVLFL4qKuMqxfDduccazxTjjF+zkpV6r0QkIEhAY3Dwxfo3Oc23cxzolEN7pxRsTiaYaIN/WilhcO3rIlkeCrM5UekImcG003/HM6aKw34+X8pb5leZhgTsAR04+qXQ7GQa9Ynau0bsWgBNgC9idh+Qsn2RyOkP7HfYLjBm33y0JpJSJizQhs+SRva+B00vo51WHniyPgLripDtyv1kov2xjmQ6zk5MJ6fhW0EcspzEiSVYNBUucJ8/NIsc+xOAXKJN6YIyieyWoIoZAzygDQh88bJkTGjlZzNCFh8XKOswM2ERg9DbzIm1mahfHp+T/IJZryGyWjs4Jlf7+kP3eP96Qn9+XQycP+3uWBo6j65/2XYli8OwUMhKvHg/MVwjqQ/6VUkszKA5h86dI4c+FkrQ2fy38SEseIFx+f7O3g4RPOxzQ7hS86RFr6MOGCvrL5COuCIe9RME+webUIRoTZaffERmrObvWXr4apK3KRaKCvNoFkIhKzloR8QDcbRJ5PuiY5LVtIYTCLMVwypEXTn5Th2VtjA4wTU0aambJKzLobtuVFk3UkgAzTnKzGc7DkHBSMzs9udFficbwbZu8lXE5Bou+UGSOZZqZZg5mT9jIM3Riyot1t4TyUb8ZvFe9nc5pmto5pH1pVtQs0fznMHXkB+CcGTAh8o0rgYpYvMUKgDmsfUZXKLY5rdhoQmGzNCyfPMpjqh0fmLFPVhu/0bZPJY8pN+9XKv0PVxNjdepBpLlryFEWb6g1WjRo9wcQXDhSRmiB6oFLpl4BU8L9io0ZS+XAE+pfMBFeNY8EzuFOmvMgquKUKnFT5Uymw5w7kYXNjhY2HzD0VtpTPvrH2G+I0v1/B2vPc7/hrRJDdfmVimApCXs4cJMCqfAyQPY36LwuzCRncwdphG0eEj6gK8+yii3TekvmU8/w5/3cKn4LrwC14RB5ssaxUXviB5wegYTo1+7o2QkW2XDO7ZoXvUUdGXRp8WyXhUNjNE+bJ9tscosBM4d6f27XLvAS3vJPMBwNmm71Yc+LoNxeu2IjHVSUATimyFGIIaPvhvkrJOXvqUIae0lWVLMJe5w3Wj77KEGU6gO0Eo3Si5zanGwk9vrhkQTcIVlk/OimSmKmtsQ1naZcgN3gpR/mdPbKLfDz2UwbbMTkzgdkH+OossLFkKjtBntQb6Acew+bdbo0LaJ9yVIDHe3QPK/Fx6QGtrv+fvtWvNvkHch4mIo78nvQGXgsgR3epI8UNZjlYdEwKhx9T/zPobY+66ZbI3SHRtdDwvoQlhZeoYwH8Ix1PJx5sHYA/xJtzdq9WUh/ZhTQG8cSfzAHHtkSA2Mi3k6Kuqw5Ca/fzhqeg8CpWHHX1utfkX+X08lRM21MC98NANXW99KLF7W/0t1GzstQyiCSl6qREeT2S2i1/GVVYpo3UNH5VIR0S2hsp+hOP0QJtZjr+/+t/SslvQcU+vkt+cyuoLPOA+2eKH3RV5GyeFqkRpW9qSMDwh1xeKLuBnZOXlohh4W1zdGHVe13uyYRVymhGlOEP2hOGaTV8Ng+ZuwMhoCIK7Ovmwe62mAo9ipXdLpi48KzR4XiFtwHdBBl3CluquoZHew6Xli0/CQNAc1URNXl2dmvj1EAY34ZaRXVXx0jXRzekNBSYcuGQ7WOCIUiIy1LtJCWVaxljvpX4VxcaJ/ZTtLgmLGjyOeDZbq4dXyDeA2/FFCamumo4wBjmSsox301jH5Gr4JQEKZk8gs5kGXE0vdB4SkddJm17SJcCSlgCPYpkasXK6e2Y3oK8EEWNrjEqyiDmzgmNsjbMZEB/eB0AimcO4nwypou4nnyC/b9h5a8JHjmT5SgUv8vW1VkotYA7ruN7J/Rxm2oln7saLBpHnJwwHpLcGu52xyPbT0dbHNbuXfbrxD2ltJ/wIML7R78jOE1p57ize0s9sTtxvY849odMhA06Qlt0qrsRr7W8BeJZpMV6TJAsFBYdR74mIcabrVuIlUJGZEDnnyF/jmfQT0uvj05LNivR+fC+xKMTBnyUnWoVYHt2ynkAelKdxoNT0bk+R7IncLvs5kAzA4YcZ/msCnWdRwN1aSM26wuX+6OsWmUp54nP17lCKUE/9vYfcjCxVo77yWCLerDRCREShz8BynHBXg4dOHso7vzQa+viqs7WQGXw9Y7eNXGdH7JRTlyMCzQJwyNW7WVm4jm3wA3Cjmwk/jYB8foFWn89jb9W/nYo1nDvrpvC5jzoA47vi/SNyy4bkV/S1Q+0/D/Z5yJnr/jT1R4S/+3lh0kg5PFwCcycyCCNdcigV5293mANtU6qNXPQFbl+7Fbu3yPkziuu8xhM6t8iwo5QWLKywStG9NavweS09OJTq7aouBrgJdhgIelau0py9NVCLKmS48e12o+1tPFaP7mKd3zMGgqAZ7YcI9eMQl7Rt6Ymk0PJ/ARIbwHxbJRsgT7/SHLF578qO1R6+17Pikj4ANbW4No/nRximyjwNumdp3g0NGmrN3qRVIX08nqB38/rEP/IhuKn/2FM92TQW+/t6pjPN9/YrILr5Bhld65KBP4vrTuzd3VQgq4ulV6boSV4MUeJ8/8jZxzZtuzUF0hwVECXbTo6sBWj/K0yokq3UnOZCp9wpm2nO1DHuh84OwUxlJRuUmwjiayM8TVvXYn9akHMLp/BDbjUzJDgOOUhB1FJqmAq81iGo9x3bBhqgvm7n1khcJUkDiX+FxpvTKguZ9NpZagvMNt00THxKiXdci3oDSvI0P/J3ojkBP6MNJYlWFYzTRPA4HclvrUtwjLrEsCBuWwrVoJ+VVJ5xcti0depYeBo18/xu0KqV3rGH9xDOFtXYXtR+lgBAw6V5UYiJNx0/jGmH1uhpml3VgdRp2n0QFkEjD8NqaIeQf7GCw9BNBZSOlu8n2ypHzGM1t9fce+lIe6Xg3vxvLWvmEVdSelHAgqSEmjaxTSpQ1ZBUxE8qglfYOLy7z/uAyV/2mBpBOLeC7agiGvutfiq2gSlS57kr5OMj14W0m5Es8TFiKnDzo/k7gYyoouOUKt4vY2EApFt/O1LHfBvVhlA3/9YuD0lx9r82PguvFu5KdPohFXOwqM7uhxooPW7CJ/MT62iIDIP4WJWX4RbOlbGo3mupnEcNssEH3ezayyamJZ8ZNHAumjD6xRYOdgUfSqAV8aLCzvs2uWZDcjtkT6n1GhGBiYGL1qv7vB9jV7F3IsLdvP5OhdJDX029T8Kc23QuDaotzLkf3at/fQ3UzwVIvGduEf4hvfUQtIOoMSdvAbTlhOpOWf5Y1HJquIYqTyZ00R1zLiB+W9vjMpByNoy0kNWE6BQCJUrOS62cGLTadoRlT8zu/EZNuVyDkEatOp8VlkvGSiHsx4F9vS3uR8xb2HhM5H45PmvlHmH9AxyqD0wCHHgvYb4VnTJMIqf8YaFbLM6fLbct26gnysQQKhUzP8njfrSh3srYaKnnYRGfM4Cq0C8v2wZFP2o83YePA3niejnR+lRfDn0J9sFZepbac7cOUAkq/LlqxwIJqZFhLLqXEquPqc8LeX0fNyukxOI6puiguZmx0mqugOTMvOecOLZRWImHQbbh0vJVi/Pxph9pBMftCfigCvt43NEIoTqKxHSX9IPD6GXxIqFBHzDCK/2ZqIe4r+6HmvAT43R9/632RLyaVxuTLJshSyomX2z/V2na80gxEU/UMVunzK6EiMyRmODSkUurjqepXONB7Taz+nk5cxiNnr1aWsOVNKbzzXsu7uMYjbqSIY5YONhn1dSi6Wv50JlBEhiymJLYsGyXGrohsQLCgxrifKQEIYAQhFSPU5XsiiQTGWlqOLXo9uAM1Xie41YQPjI0DbFuYPiborJOV7nAcpgutBHUWQqy94o7lMVz9XztP99bLJzvXyA4khUMtjhKz7JmnfD9tODpfNFZERra6DK13BBmVpDklh6hXrnW+e6zvDNoKL9L2MCZrTcYTwKtPBF1CbEUQd6sr+0KcUPiJ3alXscjJc0RU9/0dbu9Cmn0Wuh7/5aycYYXI2u0DQjSol9gCFfDMzGf/pnLp9MMSNBumg7HvUTPrUZjetnQHd87MbqbRahUEIoklyYJKZbbU4SfOUicwDkdGX9fRwaDKZ0AG6j4FxkLgn1SUV4/dgzgkDvqdidqRnyZwQasJ/mEQSVtqCCm9rv/kZWl7rNBWv/bQbjVKQRdsihLh57W7mnzs5znA5McsM2bg0VscVEADjITgltmuNysKX/QihOd1cuWfVEqXOyUAYLD64NIvpbCHbWbtWp6BguZiIO/ILComoUva27e/A8GJ/i2nmnigXHjKYLNQREY2zVqzQEkHo3zsShOR88Zj9kKRyBuTTyj8Acjr1dRQpIRbWO4hjFAKY/+cm7CiAZtX8pPeFhvw0Vqp/IfDFQ+Xlnwovs+14GVoVjYFFH1jTh1Kw+qIGtBxseQ6eemyeQLOGpUwMNq1GkczqDoA1Esr5OoZ9lmdRhbs3KCfIgtHqgAhnJ6HOAYuz3F83iT7kANmpEh4LbGFOC7xMrHcBGT4VTVTW4nDP0xrcXhtS9ngwHVuzpn8oGv/NT1evZCgyYoRxFjRUCqMh7K/Xji6Uwel6KEMi7NOYpcpAg8/lg7KtMKBES7tsk4jUadX26agI0epcI3pDQIibCKpxaid5MPoIqV5BQyyPJXAcaOfS+Ulw7XrCeY3n0JxHhDaP1PGIF/2QeXRtj4VA9NlAr4VPh+3V867BdzhJ6BypRG2FHHudGvvQ3/WqaqXP3wXmCReHa3sQgXEOiQw2nG5St3cv496Ipw6fj5SSsWbX2bZLc7xk+iQXtaJBmH6aisUV2AEe8SjdhpY75CxdrEVuTZXj+JdSxvkMuwlP3XhpX5JRdc3rt8mWZbP6Ps6HFsNUekb3a6N6LetQ2lwtXgm+qWjVcARSm47vbMFyelr5MLoIQdE5JieMPE93xWIFqdXoKDFo+utAelW4A7WYQb26bk90C1NlLNX1TswrKzxowg2eir35KrZT9ERRYM0PxD/uJPIUcpQJSkOFPOzZKwoTYF5SPz53NzILCuDgIStWBvi6VIH6dyN0QuigPre3vr7l2TpRzi8zifVraSnpzmbxrwuSaTQ84gXuk+q4Md544tGL+v53tucnXaHzQlB2p5Y7vKw81oxUPSQWjmk+WZJ14UQu8bqCTuA+PMR1ZbFTWSwUhQiBEhdmIgjfX29KygHNAjg+GoaWCviuj4aohAu03YLauDApnyXw968A22ytH/ywzvh2dicpmyu7I3TI+zqs1IaIQx4R23gxrfglU9TcNBTMCHqO6AqExzQQVBz/uq4LZ0o6A/Amw8RQDmbCSBz56w3tUgCre1aS6jvq0pZdD2Mfmev36K+43yVLJ0lX846iP/KhFISH0F9U4F4Be04kKpm3Qz6JoykFslG3hJQ7NMrlmeZPXoWbqZQg3JkRANmlW9vZmUlbWJJFVJG7HDq2UXzaCYDR26PSGdXQikA1vgU3eZy0Kc3Yo9cL7CcuZAtcNVudnIXALydeTRYGUL5WpfgQMCxo6NU45b3R+t+tj3s7qKEH53J1/SYlmWNbu5TTWqkSfPvzqgKZQZbtG3MIMqsuL8kalohMG66zQeXpwt0IPWxKRhE3JHunJqUEb7Hfz0eZbHnnnFDgfIwhNlNyJ/+zLYO4t8JbG4HQbmB/WDS+RxteOWIETMwomyTobZ+x5DAXbZhIC8DHLdmZLRMTs2xCeevQ/mCzbiZTpgwXyomgBwkW2w3XsFzzjBQ45luBZBnJYvSYI6Jh8wDU7tCVNN8+GSKrFg7zAvsD9CTOaWNAT72rD+39BSH4/Ghx7Cbj1Y/xnN8GW4AjJwtzVVZrh5lCWTFGWWlvY2oEynI7DxFzx0YValbMQqvYPAZrmf33iNcBV7C3eTgh2VkYQbJH3hTU7I4yK4Npcqe2CER6LMO5w8dJZNEjsr2qc9DiOxnGnbZ+T9rON+UiXTfTqCsil2ZT/J33GSgz9PJMD7wrHbEbwXCDkOoTRA2Qk6w0996N5a3tJxDcaTQgdRy7gKOAxUsXiw2BLKNym7G1wuEu/mtzaJv94i+iYJSNylAcOkbpab8P+uZ0P36HocgkP7WW5meG42llQM+Gtv2R1vdyRsXq/agAnRF+AfwoEzRzrSlHtsiBTr3E7nMlPoi7ZIpLYm6V3Oh7Bh8hrPf8GISsPIiKPmgLtcg5QdnhdFHuXxGErXTu25OA8nCUqfV0APOTRMHNRZKuH1tLTSoB6k2AF3EFA6fW/yXG85UPG56r70uW/EDPR4gl34SJ+U6LYHU8XSOnHVFagxmKlDGPF2jq4i2K51KwDnvtC1EhWXJwEPrzMSsY4Dfp5qJ7Dibp5VOxRAihf42nX/a+Hn6ROiHpbEf89B0BOonaPmDG885S3gy2ArDJB37ubwuRGXlY+3BTXB9PydZ43BjNg0jKIyafqPhotNU3fWW3ROeF/U4B9RNv+jL8X8fMmzutbPEzr7ud7v0JskL/IcYPNk8v5sSyTX1sYFQo7TpD4h6Y6LsQgopPD5Oa/a3OFIhJmD4pbZAwXyFSUzIei/LPrvIEejvRPVkTYBuLTEYHqA3BDVGDfCgAL1k99Jfk7xLJPBqcC8mPge3TRwwEMdzYfdgOF+giqwo85XNTbTGRiDlMG0hNXaiHDScaZPAg3d7gIk2hoZLGeWa2Xdz8HFWuWHfNaHTEFUElZToLx53nk8ZMgU/pS4SQ8OB8E5ocMNnrh0xXLVzew1biiNO9Nse9SwCnPnz/LtBbPdhwD27oTGapLI7QsC0NxlVwwdc0yDYRRQWLwcREU1AJcYC5rimH1SLZ8eTceNWLODsbbwqEiCiYnb3Yjfg2QIUPAAGj5K7h6GTioVdyF5oHmBgwtrDqNEmuIfM2GoSDoywgRWj7CUKsZeLOi1cgbMVP/eqt/L/uIXvZkWGYLO+XIv7htlBmRsyH3SoeNNuEYcXVvqo6r2HC9z33xCcJkmEYMqj/BHeAtYk0YoFAd5N73PLElzl16wdx9IBhgcP2LMIWWmfyQ2wvQoPtOj3OyChntAoRFZqIwsyOkI0bLj5t95lJluE98zoLW/ZisORsRhEgY8P13CeGz9/qckhAKuVjHj2eotHvV3mPZNysznLSkj2/vcjHLEFSN9/NBSzVrAmk07QLL8dEQNTZzu3k6rL3ZyfoKPobvT+ffV1J6CcKhZsjM14VLNqFIFik5tFI1e9xbeKEsqqrXSFuqwcn9QCUA8qiVnc49XNumQKgtDCbvJbTkh+ckiMNDQJPgXZiSNOkeG/4w1jdPg21gG/ZSx/pYM3P/LstUYhQ9qmAteb3nWNOsH/X7NzDsmArUIRgIWYVh/hg5WoPIueBW+/xLrV+SwJAm29o8wkq60JHDJGl9xJoseTScobC4bjXZqCU5kMHYhOKf84VMGkmeQQv5MQVOcUrU7Fzm6kHFSaVMw/lInOhn1b/B/YpHHxibKrlcRdT8y8+ZkPJ/osOPFg5W4XcyvrtZWsXYWBEnWWYDJyTyHDQM6an8joA8IbLlF7lIWxI54jy8EEuf1lbjkQmArac/6NkqXXkjvOS4+RzkPRr/2vS+9mkooxX8/hTgTW5uVto970PnNT4N2VUSQO9iy8w1hStw5Ci6tVeWbeAqzsHImovB/KFJ61XkWLgg94sD7uPBLHleokPtMx5zmDbjIskNJAoyki/t2hkl89avEZUxelO1kKCDWsJDCvf5yURPlDUku8uSL6CtJEVxZEs5gSFTkfED4ij+J9lO7v9ABtI15Rkkkq3dts7VIz7OQ0ztGwXDczYJF27V6UaxDx1E+CyT+iFzcr0aS7mg2RVplRvWipZdSLe06HcBFMknBenv4QytQqILl6+QibYzcjaGdhUVxg6TRbkemQxZ+30cOlaEn1JtOPkDSB/LscAs3ndOXc7O5RjN0ljuYCLtpdiXeO9tzQjdy3rri12QvDhqiILII7Zs4qO1SOuR2qOVJowxIL0xi4suivwm4PHVAZDpzHrYchzKjcrqV+Auula2+ek3fZDYUJHjoKdSY+H7U+9sKS8+JR64P8lFVvNe+7e4H4NduZuTTBbLXBzYoGKBWxym+jxS+D9hWt96DvoXAfPjzOOWk0+Q2SqoaweQwD8el8hZmFH+3Z6N1EHPgzb6oLx0VBg6N1m3ZUa9FK4TwJMZy8lDaeDCpqsgHtN70tNBgIdKHW8hOOc6EOlXdeSe2pVSYWoo1RVaRSPbkdiv8K7597q3gjvZwe9BQ0HFHaqgUvj8f52i2M+Y4h++JI2yFkqh29hLkoBuF+Tuk3XRrRPjh7058JW+DUeUPc6Jhce3l0Q0tIR7Ck4ODZBMt/vFScvRhHPohPbQPkGnoVgJySmKzEk4LBRV/sgQ9urXB9ZpQmHAmvw+VZcI4o33mdaznkHscSa3PWf3Rw3qopd/6o/NBciK88TBQLmxGhzhoGiUc5VcOL5pbKKdag/AFIjQ3GzBGBvr4R0u/+gtNL7sE2/eTwRQK2R4zLWuDIR+1kzc7bJ/avndZTWohs6xgVNgxZ2wmUhG3XieZYDPwylYokqlMZVh9PRZVshVFz8R8g4URM+WTHxCPwJUHn40/sUla0oH3fiMn0USq5PmJ2zG0emgPiqs/WaBRlpxJ/+cdpbe8GqeQ7nUwmTOeyohVCNORT+vnq92oYt5N42MyJLEwkEvD3zyBU5v1BGI/deOw/ncCmHGWG2uoRP1PfBCrFpYiJSUJL1T4D+E5NVLRubMlRBdccKfR2ShQV4H2gl9egbJMi5MEaC/+2ta+R95+AVkty37WMIgli9avCQmn4/ZzNsmDvqaAnZf+B5SRx8Rs13kt2XzNRVAGVc5w552w/N7qbeQJ7IGhIoKtfettJq6gmyEIgsP8BG5p8B0CvzM7o/f6YOQmWp7R/5mluCXU5jYVECBQjxNBHiM72V68v0JoYn2sOqY3lNA2lMGqscdA7kq3f/TZsqmYPPexjCn1eOKoNbbtC8y2vCEmvFnbp2+ws5nWAsQ0UPtaEMOyeUL/5f2EHBvDK4w07gHFis3+ybDz0y2D9x5N64p0TJKqKhA0QwnxKZY0NUD1F04VLqflY7ZhQLbZ8c4V7m8Vh3LXX4WHCWchgaHBggE5RnmHpRqSpdX13fVLICrvsbNiKd39EOlukhPlxdrliV+sU0VilDg7piEexNIRyjJfui6RtEi/mlMqGsz1yvHkpvBaQ2PLE29Bk/wSff6KUAQ7mMZQXvmVvq/UmO093IVbas1Hjk6SvTv9uLHHLDy/wOaQbeI2XC8uYY9nDtBXRxUOrBjyTSo3Jzsa+UxdZw9SfacgFtlSqt8Jb/AVWzjnxigQLbUqCmQ2Y/7vSreVghTJx3uSLrvCw7U+kuwFqwCBsm1ytNrlBn4sy18LNLOZ7B929VgTSADDKhPrMIVneC+66PIUDOzRyEjyU50uXx/1miB95TZYStECQ1BJ+CcZu38ObJyLcxThQnJmmCKaG57tZo2JP2w4k2cSHQ+5/MkZijScvF9cG1z/dJmFLh9bPlK+m100rSyg0CxLT7noeXJoz46iXFSd5jadtHTDtYJB7ccMYV/gSKt0amq7Hbb0R8IDtn4iVpQJ7dgjJKlzVQ5AxKn0S9+yYt0qwdG3Yd8UCMix/Y8RWGpevA3kt7tCU0VZHy1Qajk0MLqyIvwUCjs2yIc6UYCOk49NUCHIoc3s5Df31CTdkWdw4P0tC2Yxau4oBKjrTp9QjQnO2VoKOnwbCxVMf5Y9cBYXkrnm0gIiOYKDKpqEC/GY1mUE86OMpAtuglHfam/u8zA2/KJQO8tL5TAe/hwZKgYO4gOdacs0uweW85WksDBrfBb88qMp8cmkGCRAYxpVwTjwrGSJVSxOvtJRd0WQl6/731Dki3xrXambMk7GrotLsHzUviesz6OhO2rXI4J51lYOxdAGSW0ix0QQ/Wk5oy9oBk5/QeA/Vp/N8IUkOIYrvqxYCt+JYDG8E8Gp+aC2MyLFcXXIz613uH4OEXWnefJMOagbGIfla9a1M4KvyZNuXKo4zsZI9vq1VTKTf4NvEovQo9A9bas6TXuCVlaEeYKvQMQU1Ei6QFnCzS4CkZx0iLRCtReJYoe+fUAuOcxf6OnZQiKIoWmXWM4x5hlgBNHqub6yURVOC7EfU0Ymorfa+5eacFYVjTybQyFZdcDJMKkJz2U5NoKL0KYUf23/MgxQWhPrYE+qxWwYjn1wUtDc9clpuyVhjn2xxGMOsuILbybtvFikT88JYds0JmiB1RYC3Ua0/ZKCA5HnqBxx1hxUAPbXVlYZOxsZoLiQNN00FHNUURVU8oLtPaiVlF+ejTQVr6g+9XKKg2V6vzDs+PnsNa7+Qv1sDRQsNASlc/qHvDfUi8p8eVNEA9NzESxGr6EHYUYf55VPOCyWikNLwqpdK9szztqqet/gkokRNacdbpQYcM5vUe300dKX0KAjBT4tgBO0vR/pfdzaz3gXfZ4rh9YEIfgbtb8RxfKh42Ep0EfDRs3Uaw5CA7c1xdgxJ0ADIs56s0I3DMlJ13TfU41dR7rsDZhVxM5CfQwtzdT8gaELrsSth3RHfCHJaev+HyBPX0xxVr4X0KWdNB4EI1rT8q+2uVx9ktBWaQ2dj6NNFS51qtiwV38LGFfzytbjS3LEUH6b8ATV964gdv9Hz7d083A4UEr+8aCLo1WLZ82fSCpQ/PwLudWAvliJRXyHYzqAbF5u+dxrvJiiZundyG98soc+KQkO6l2WqEZ2bjtg2EqzURs6SwQgwt3e2W4gj3DS3UNzQM3WfgnmE7fCBgfOtSeMV0SusXwycD3b+upLnGeyPQY7drBnscQhA7KL4UqmfZ3Wqa5q7NsNCE2h2eXxffa7W7N56pZc41wAEXvWzX+SodAKfxdFC4zMICs0JfdpSJR4OcLkr49Y3H2/Q5akAJMdWsOykY5nXdNVtxvAJXUrR5Kj2g89tPzdAuFQtHeHGtV2yd8/0IXJgbwfooDsbD/VMFziR8VOW2cOA/0WLbCNaOy41OPnnYTT9TLsETvgbzn4YDUUHRdqjCXc6O2aE0lcUBmLG/9+niA606VqOH+rfeUT1gRDzvhrwBFUZZVIPQHvSPQJVQMbVU3n7PW1XUBVab92d6cfJCkPou125V8Mx5HlsIrwnz2/9IS6MsTAPhxFkWBoKvywcRImiPEnNTXHh+0wiFyI9vA+ogPIvMPb30QyGMdp8gJ4PwOJxoFnUxhu5S8Kboc50b5jZ9zSn+rx7HDDWaq2Y7JnoLZkWkensk13U6zDm+0PGzcbRrcWP9KeH5MRwsbGZVbrbdy8+WCgzpihMnA+BdqTkV9+jo+YYgZrzqF4zQ5SRSdKBttOkFEpy4V+ebrc79CyAL5b+nXgSpDiXUw6FuSlfTtl0PbKTukXvjMC2yQaZ1WoxOhqt+lXbnqEEhF7ywVDFhixilQXZExLufjbm4aWySFDOE956l4BT8xAL0fFqNECKqjlj9x3pqXUPwuk3c/aH13ZTQLaVX+fBtGVNNXuR6+8ulfo5SZlIEVoTZMz10+z7LWleiBQlQ3YTM6XfphuMygXsa6jCg9KVfH8rz2IoRnJlJ7NZAa9Xpq92DCC4XBl/1tdEPUhlGpQtqaCRGM5nG90NAZ8GJ1rZKxmINomODHC873G/PjZ7HC4lcHWdN0osa2M3MCw+upPEqAWnx+9gLolp6insw+EeF+u8Qwc1aLcMzRNnosRlxx072JXZei+TjCX3aEXqSOJO5BjDM+ALpQEESjCL/Xkqo1MIfARa0tDsGLVRJRBW0H6MMebdpJm//C7zSAU0XuPS832PHxvwAapVNJ5oPLDmH7ntkPqHn+VE0UDVl30pi4lT5pWZGKSweGxN/CXyi++pbszxdjxRr2fwFSWRryhGpPchAWPMIDxSlw41Eb/hhNDYBtBzug9d04kes3d1TTU5TLl/2i3/uFl3ZZRtxpXTLbJnZCwuj11Eiotskum8qmufHMLnJQrhIqRZvIcsBvH2dMY5xC8GfCuKhrMEdVQ7zd8wgD1OXPUfv57tAfhzNsry/7kQ3SRhf+XuxQdBYO+wML7Ni2Hy1sFLi0SGBIYtHMafZs06La30ss1VxQu7wBVaV7hXzsNg3QqieuC2/jXsrqIWDu1UzzFjA5IMAyDYHmyrScNTDL7y5wCKn+g+zT0Xu8C6uRK2DisEn5vziYrpWby3wDHfGwfe+V+G6WaA96C9RLDsntpKQm8N2cRsZfreqL//c1+yQPgFN44sZGEexQfpMLUguqgCTP9Na4JUfTN/LMIuUZX4gVjY0Cdau0E7zEGjDzYjxOzQlUzXE1qVtA3Kpw/1SrnrApOtfeWNTEBHFiOzWglLQ9RpB8FYmuNgejy6JPR43EhpBZGpX5ZnQKdnMdx8IIysfqKRA329YWfNQ80F/Qrvlx72mX8ca8TXB5ZVvgKVP1ebeMnA/3hRYJM2lIYlYD+QWYTBGDtQa1iKTqwbZKS3Q1BYUYlpOwlzpO+lmLR/dHVB2VyLjamAZfNSzqIcMKpNUPfn8/lTFP7CvGzzfhLbHq20RmSmYkDy6GDaswAooCclGlCPY/w9I7cM1x1AKmGZIDpvatJe7OsF85KP4dd6E3V3OrLN1t9/kVF6DGvkCAN2fleK/adztIC2Lh6m+dvSaeSydUH0b6dROFk+pS57KL2l3zaBLcqexYG2ledCsD8rQmfMbpgPAQz819tUjqqkVgzBozqT0ElRCzUmGAP1JsnpnQT3uT0Q+ObKEbxwfNjJ0f0z+0wHaRVO+j1NIHS/un61cpxUNAD4sMetm+Tp2aBKOs1fgdiqEY3582uIrStrMMesYeg+ITHKAyXJxLW0w7AfXNfZUDD5ozS+rlhigAwrAzPWt5HmqzEiU90vLog63J0qM4HTyWoUtDMuAdiisVty+YtN6+UXDjukDDiIBOzhwWphURQReySB328Zhz/sY5mvNvXWr2Q2zdKzyKnrbFY09Njci9eIzOWiGbicmFvy10I+FcRupElux/K6E2ONN7CqtqaCNlyrqN/NAwbydWTApIAfvdjehBt8u6EoCLxg0hICBzKSpOLKa1zmHzxZOD1F2h2vho02OSiABZ3rJZ+njQa03AyGTQ86hFZ7awNIp6X+10TGkeANjRqfGlV/cciR9UVjIKHbdXKCdHf5CCEdo92xZLxLFgWy5m0VxEl+X/iislQG6Pg+t0COI/dw9MDqWfeA1lkLHUUyCWGN/w9X7GbDZSJL4WV0ql0IdniSIsjOWVRH9FsP8YrdtjvFUXaFjtW2OBmVUL0Fyuku3ncpkBA+IxS+oCKAo3Yfd/wsOyfuU+B5cUiuIAox5DKTRzadaAcyRVvhqZ0mjkn4kIYix6wHJCv/VpOd/mbYhPneeMrTGvfWMXqby+lniJMdOfevyWjOBuXaDjvwgPPaG/VuGwvYU85iOEjfyar8eTgdI7r/vDb4vwtqT9/fzrinit9LvCi+jgTRiBGy3l0MtR9t4T06DWUopj7gPmxMMCLFO0q4pI3tCcDwRJ3YmgO86uz2njVhgsa/rpqDahbKYBI4WxeyXnXjQiNgiygpxP8qxnKMZ67UepnbTAv3qIgV9Uib0zw5107PPjY9HC0g+3FyAKp/BzbSTbgnr/pfXVpZIdzKlbqIHAegmyoYki6AJLN7mmAs1rb7ySzoAUdCHAY1AMS4SYqJItJgG/yrbQMDhvChurM0YAs7rec/5FwczKn82E6UbKnuRcWmCvu7E2+OkGoJ9mMTva38tJcXjfyHteQB9cstfYDgrgyPappRrJbatG7D3IFJBLgoDMAQPK43B4SldRJMeOalb7OxTADcoqtP+u/o4T06gC+b+yyjgM1P1xWzTZOzQfHmEWQKq1DhINhRCiCIv4zxmxACFTnrzLSJ0d01FT6KgaJCWMDi7y4Zy6vA9kJt2Lqoxs/JL5uvAmKDUHdh3xBh99VnfN0MVywtD/JByvAj8llZnuvcHnYM7nHcS+qG1pNwfKU5Vz0bhKLM0Ak63QsCdPhA/cQbYr5BHI8TdWHiVwb+yoSNx2nCmb4iSDZZLA9o9+Fe+Zwy839jLjpie1wkYfM1iLn80vxPqW4tCpAFE0mjqWz/NgTSNdTueRe1e/BBM19jD3izuNkN8vXbh4JwuSvT/OnBCq4f9KRjuSaM2ZGVXjZ+elSZ0StWH78Qoh8HJ5d8+AbOw/Kev6Xztru9rvmhajN/As9M6SWuO+CMY/vXhmIvNWmebgTtMhccX7Tp/7jHTRjBR+TdtVxIcMZQOmtJZ1TdyfEux0S4DxtPjM86CV9eV2CdBZ1ewRsSzTzKJF2ypFo6isa9wcclRoEhRPUV2fyFC6SkE8ePxnMsRC/QP52xWYGdKlTLV0JYFf69ZIdQTOT/IpZ03O2bzTItAwxc7F6CEIUys8NVaUkeCEf8OELgpi0nKJTSivy2008cstfXllr+RlPL/NoyoWNJjFb/gONFNI6ErlCJDPNyOEHyDH4J1/Pv0T1DTFQyL24LPGXuUJI/93Okszpam0+KfCmkVS8VZ49raSIGXB6Zulc+L4xFGA8xYZmoZIlVMoHF2mAPkRF+p8VDW2nUo8BrLA3uWXbQEs/pWnecIli97WrrgsO93+qVVSbjAkxWP+9iBVflDJWVM+DAsLUOL1rAnVsy5QkhZGdofc0rA6jrEm6EBVvk2KHKXaHPsbsEAT9XroUe1J9fE2527IVAtZdGmrIvcK711qmIwdSFckQkDwbe2jKNSRX6Y3PQZGxWOjClpvbdIDOr3esTvcD9Nf6R860fhKzrE3nB74ROxTwy23d8liLNGk67iW+l5Vpntt0H0SnjRkv8eQnSrGmmo1WflYypUj7CR6qZVwAbX9GDWefoA73FGuRh29XIMrsGkY54utewQGFgeQzwdNsk54gArSVYNzxo1dEcZ/NR8nWap7IO50ScrGkYvQacUV2vGrgcwD+erlOJRtQ7AIcA81uSXObcvzE9AuND6fto5oNrE0m9KfKnmEpYAdhmN7PO8uDiyLWmeqnZLHQHarM0GgIQmejL4Gj0Mrz8hoflTzCBoaotwKw7F8Xy5pqOxoJp4mfP6b0eZm4n+T2vj3U6szaxX0eXVEHAp0tOG3MH8HFBXr9/ZVvwpP39XGdRGEkvmcEyFQjKsbmTJyih+fYcSFwQhFrFGsJAOI7MGYOTLaIGJT91pSHbfwVHa4kbq22Y/tMQsCX04AVCEC66pzlnjKRj7MVoG/Weshfsh/hNU386eOjIPy2aRtolibXeUQC8uzqaMtC+KgG8dApmkedg2dxugVvLTkKmENgEjJl0YARSGwOtyWtiJx4OB2HVTRSdgT9GHK/pgMrkWYwF1fSaTsyg0UZs2iFKOriqs81nMffcMhYU/3oNXGOL6q/UuD1g5nHQZza1U3Iw+7d58otyCMhKCgaa3kSMzBsYmenklsAbetkF6WDyiUSMJ5kKFDSZ9djqhhWauZ2q/tSLE4nfYOAcamJhhQAyXO5xP6zm+bn/lp2/pG5HpxB3im+9eIDSERK0nYoDzvCYLNoGtwa5XA+OldGo0tQ6FuCh//O3fW98Kn0txch+6UGcPs5QfLviyk6w8DtXU1NK6hZETtOcxiiPaR42IEheLmTQOQopP44UqiVqf4geF21SUM0CasDExSRcygSdQVXrWnBSqYPNChkTE7itJOrauDiYOWdkhjam+/9AztgTW+32/69PBB5c+3fFk+COE0seH7rJ1oycOGiJXes5fsKGuRrx5BqWaGVv2Ll7AtPTTzdPa8EV5OAPPV2cZIUAagqjMsqzywrVRsv4c8m6cOms1XNBBdl2W6WdbNfjypHK8/ikNDpL9XKtj/4Q1MWdH56k1biB8PFGT3Bg7Z3S8cDwdduDXblq42vUYCaCTWFe88ZBmnYEvdEpJSg+XrXnJvIDhiKe1HoKLN53QnIPR3tZ2BSWvvmGiLQpwHlYcygglTQui9g+sDYfxcX/MW1bHH3p+PMjpJ3VNeZ/2xSdfbFJdw5QQjCikHioOzGpdePBEFK7e2bznBXIz5tXCdXnlWZrtY+3DnezxzXxSuR8QUC7v4W6XWRv+QTFPRlTg8kGdfnd4SdSu2dAH4nC+zC0w2fOCuYTrb0GSHYnwnls/vgXFw1HiFuR4sTEV5QjOqZ65FRlFyIYTkMjDOHzD9wOJQWMb50/QblFG4Vo3N7R8T4eJrj1teb8sEgKEOI/d591sKh66c/my8F85YBQg7eCHyLo4UjM29TgQFLJo12/tpdhl+yRbDyp8eSuMAm5MRszNVaKYZ6akhOhQ/ltTHHPSPwutB/AIVU5safd4g+3xcjP4kDNQxNEHXd7If8MYfhHXcxmaSytkNx7afsmotCePK5LIJgbsFaoMwi/xfIb25Oifm0o+K7y1hgzy+2tumbxN3bVPgW/zi3FKt38AVOUoDpP+jEYPI1b8sPPLrIpIJIjsniloQx/fngx1HUS8uDkO3lZlkfUMxOkskrgMN33J7Q2oCA5xp8+/iQizCFzNxPU+i5c+IRUGUHpM3vjDl6F9SjB45tir/WzrsM1gALKqZFJsbgx2guxmQdJ4GiftFO44Jh2CBw0upLwpnRJW4wzsAi4m3kDWDLy2Yp6tVuiKHtrnby9QBh7CfDp8DvYwZPFngjTKtVbT2P0VxXlJ8ouRSi046z5ThJixHCa5Y8y8AXDDJ9uUTYVxOsFTgwlm5IL68Ld4+S4I87Kl2m312pVZxZ6mTqEIfMwsfNJBQCf5kcsxwblnDbNNh8oFQjrIme4PIAzDYfH+fzbesdzDS4lW2Marr1/m0f2BJevjRCofynCpk+5EiVZUNilhMNqNlInhQu8/tMMY7I1XizontDO4PwIau7RNYmU8EzHeayppivxXXuaTha/5aduVUzs++WpGforPDRoJ6ZwtwP2wQFP82zH/fdn67cWzoYUI2nkbn5RVmP4L9hy3QEwyXYYSj2kvf50HgttXp6tco/4u3Fia4EHNgls9aWKt9wOQpsJ1t8IEDFZawqjRjooA63qPsRVdfxlijXWgkEZoxkEOlSzQzg4/Xp8e7YPV8pmGQcaNDg5g6rTjYzL8RnNhR0rK90wVU2Z/yVxjQ9wr4YXvlJv2ZkTNs7V5IP3OoNS0HrLmQsOM3uV66MM2fzsAQxrQdeHHZnn1gGuq5IvLKR+3glhhPIDUr/II0YUu7GTeH0hQ3gbat8bN37L8vuNcJBCDEBQn0qc9ZJeioZWCFGxzUkoNhE3xUQ495BrCRCCanfKiESvd9bCi7DssSwvbNAK/rVnymQKE2txKttAMRAk1+Meq+LjkXGP1meR/yIOS1OU3jHWG2C59jNX2cj8gbOJPdQS4Fsa8Q2KbX7fsupTKJYSBSE6Qnn3DeDhjs1y5jgqyqDzQTPQ2gjn4o8g5Z67ercvRcSrL1lXZw0+SH2YPfQ4BLNru7nmRrzW9MjDsUW9D3fZAgkLpWQUij7h6l06RY4uvRgV7W8KDV/Pd1cNiQ+NvZ9gEjxxMir9Yh0MYE0EuVZbezfzdFkF/fC6JUA5iaiBF1kS+fVYsHefWQ0JJPN7emXwcieFKNruB8YW8FK3uQuv2T1A2+yQD/sAl0vTaaFKWqHHGJkft0M+E+mDMcnDw9gbEnOFkkGMklGgMh0EU3no6hDkxv2+foZzl1weD55M0kY2oSjTUqAiKZ8jOQUNh0Y8+pfaCWs/5srjwBwainTXxWuMNBd2/8n9hOHvziOUsbtc6LamdTZlTRo4WJzVxGBTGny1Q/guSleqHa+8tJW0O5B5wQgxeqW6heJzs3sa4W94BO7AE87HqODe3uCNktJZSXddNU5HvIg7tQzcNaYGF5jRT37MuMBuJJFTjwKG0AeKVn88kvWRcyjwPF0TLrW9JcuxJB+6WFIlwr81bh9eKHYFikOxAEHwkZwyh24p6VUpElIoMhLZqOC3TWFrOCEQVjrqLCeDDCNGElMbwM4nKcdXqVu+T+UizzWmixVDwoa40ajPNb8eDby/zKAMrqehjbJcy/sZ/PgnyHq1hTlSz5hB4WMMVUBmM/IC5Ks3TCw1dqsDD2NooYVtyq7jsoR06WofFrSkhYzG5+Ljx73fv8yCVd0wLqXYMRgZqTURVobjjxLe6RecFlwIhhgQ6OuhkAP9YfapoYiWZR9oIwXEGogXM81dLpn2Sy7I556MzusXGrtInCBWK9pU4wH6mk0FUu34DRxSJaeOm086uMp6suNOU5p7JSyaZSnhKemp6fxPH1i1TPNERMFDW9T3VarzmHyIcFunoS0bjuFILYgA2FBucinIATcHN2Xe2H2rNnTehZ8IgVkwJ0QG2TtVWOWoLvHVS63G/ysrDg4Sow75Evy3fZDEZwUVLa6a9E5FvFDy2NGsCaPSFvi2/n6dH1X0p+iu1pmF55febxQvFpcOXLMfI8CH8Lf8XwwkpQ2qagin8dGON+YxHnTMM6xlkOQo6LQ0a9qXPoZ/svC12j5bYaJp85Jmsu3cpal46qyVlkpT1ZFKnY2gHqSpoWmW3bsArO03PeOwxnrTCpjcSTrjP6YyjZrWo1VKX7Y9fEIS6ojF7q3mZ3xVJZWxlThWpl+wxyjk9FNFzZGt2ouzVgcurTQ3YWjNJVfmxVN6ESUBSxIV8g9MqogJDGwN4zrrQSnoLVIImOxfdVpr/7wawAXMNDbBCN7ffp8fUZlyUTiQFoQjTvb3CwvngqrHj2iduSlAcz6mM3sM5wsA1oH7+KaXH8JIdN/WbKyAUjR+ftXjVky9+azDk92/Ebv8QOrUfswMGTqkwUZtvc2/7Erp5jLtwK52Uz+07YtAAScPrAExP0a/GnaHmlbbL31URaaX48b+OeCEKHfO5lRCT3JuNX9nZSRMfT+K00XGiNFIUY0km5YngSB17Mokowoh23UaItPfN8tQcadIq6FHvPN2xVkkTCtFlorH1YYaHPV9KgcxjW4oJsCNApvK4VD3EjT3kQomu0cYAeA2uX6qPMOHNjV1ezNJfXZgj9MhTtAoP5fNCsoYySU5NX51/44aNNOMyPjfg05LHtrtcRFuq+p4SqadYpGP+U2LjLfU38ZeQNjFknehe7vS3Q2JNmGJO+3yIx9Jk6b9Ax4tnlviGrB4eto4G5LQ3yoYQ35p/bLUFG/5kjtqIVRCwPk8pg7ItdrEl0vBATpawf9AxUe4tjespYpE9OUxgSBGAmjO7gxhYEHx4NUfenMtXPGPKVeOajxQedxMLuyfMHR8uNvQAML3adSXr+Q0967RU4HDM/FbgnOwCVfAX7MSy2FKSuCo/b89+PJfmowhzAQ6xdI/E0CxWiSVG02h3+KLcN2XIruIxQPUx/q3XvyUOpfYEaxuUmbiYrMyM4ZmR/vekRns8uvumMGyYq8JpTkgYrJCHwxUns1k78UdEmyHOQBLaHUJ5LIg0VNDV1xfKmW3vk2/75Q9GbPdxVidG4rPd9N4ljg4DkWmSaDN/0KtcFCnOzOF8FF/xTNDLLFgtnBCz0/rjDOktc3gcRMYDCKIWdDR0zNlVAgs8M2qkIGpXd8VKnadK7Y5a2AQCIfEwY2HA51KiIbpsDOuIxt9JYc0TMqbCS1ngwdOCplDSYVlDustWiEX5cpwlqWO72qq/FINnF5dQu828ue2l3a9XpcqnCqks9YT6uqKLWsSWaKsMEs2ZpJO7jc8CeduvFcCQhg6Zwxe00lwfUNbGt+jyO2rrr7ALTV80/pYvmWGXHlj2am1cRy3Zingxx/RwJ2m7XGrwhI4IkVcBFlCJ7h3fhq19Fx8fwamDuzVr2Pt9GWKx2DLE2E1wfgvjFaI6MIoiDj9FLS7ePOmW4K1AX1rV+ykygZP9uNfmnoScTbnyLMpaokLu4QUZ9kZ1Wyh1k06c1AewczPlwL4eWlqtDJIVfCA5QFoy0MEskFX0zAnJx7TPjjBYR0VMqdaC0nXlZvFyokda2floQMcx39WJW3DPtPZtUxrxNg1JRahR/it66XhfrT3Fyq4SwEuODlctWFSyMSN1F2xa1WI9vAhUxejmYfHCZIK2x0nQ8uyqOvggWvJ93Ob7bf11P1kUZnJPsxGgOYNPwlswrfJUft/CwiNcoDCMZd+6ETyGvqBo8qig6cEFDGhg1np1w4SS6wwRKOlCcuSMeqG19N2NInzW1YgoMSJ1viMVUMqs29pORhv9pgzYDAujatmWTHseN3TwGU2QTpmSCdwZuZbPJSLG2Y/FoWrStdxNlMsoode3C90PZsdX3M7sylZJc/IwgiBhj4tibZPFzFGDCA31V9pD1jZMxCNrACVnlX2c6NV2AvH7C5+V8ef8GjBXyWbKFNiDgXLHyuntCeu0q+CAXDRCPaLVTHJQUstv+nTH5os7Z1U2m9ZkaiO0cocH0p03nQhfiuVk/70GYVBVxaLUb/vS2xZrwcXEdFAtt5CkgbybAj+b+wIo3e3q6MQvslOEpXEIow+TjsjwWT6NHW3A8poRfb9nPd3LddmgaseJHk9vOmjIraP+MaeLYcyO5ji2hEW375tnWIocKGlejPggfi3uf+/YbbwzUf1r3Vj9hA5tKmIRaCpFdypjVqiGSxHvWsxLIRg6C5NVgwgLvt6v/sXx8aIVvNtL048mZPEhmtZ+DpU3cUsSdRhkyyfFpf9nMfXJg1MRPcpPPDoyttZHyNFANpOkDciAJnO0AxY++Xjf8LVkwILtXbDqefjnhn3gbMSnVGVNIqeJ4+Wp4v6RDtoR6N9OvsfJah6/klJfvoQWnvRufc6PxpQV7tfl9tBw2x/aw/wXqYU92s9f2+XnKvaQlbhwHAwCKTCq5DurLEuYV1viVHwpknMpMUO0NevMbrWStLTYJaDrC2wLnXHOx8/Ns//yCCGatCOnG1Sa0SdQ++jEMTrKPUxmP22R6VLejCL1mdtbY/duYzq8CbYtDK1qqvg8aRIfRymksDSunC7ENItU2OI4YbX9yp//U3zOnPHAtw/AGGhRGaf/rwUwVmK5+Uvceg1uDNekflCZvtL78q18rq7KYdLXH59fmnsORmg/8KvkQAYeF7R066qluhisHO01qIU+nl22iSScazL8KXsSZto9vr7O3niEnHMkn/ehWwEALYEA+0Et3StBqeuP/kODg2m1/Xic77or57hkjYR76CkYEvgaJWBZTHxY4uH4YXoscZQjCC4b9Yn4lltfcHcwNpR7AeJVNYdN9yDH6Ul0SUbgIVSnyKbfWNUuth+cA/hoTYOZRxS1R/ne8bFrRtIz/zAQ7ga9rOxftiOSuT6McWSjQuAq39gsQoYtlv0wlZIqjHrQxh9SEhlGgZC3QpkUNsdpxS8FYtQwBL7JLBvpkKWGkDfCSwsxHTyzCWy073F1nMMTpTowuhqNS0LCoEY9QdrUINMIAJPPN6NPvPjlv9FPVoNrDJE6vUWIA0UAzXIPnjJ7uRpvWu4afVHU6mX/hq9GrlATL+BgLH7nK2p/J+LT1YsyGL0YyBc/emAm1Jy5YgWGFFtxZFYjr3vmaqs9LSlnYZjP6vTUpsw02oTVD+bbl5NR86Eo3CJChINVTHTexpbKQC9PxVwGbaYmoRRxnIbpKWppg5IOyL11TsLDI84AqpP/DaSRb9J32MImId7HVx+xICP0SAkreHIlDvwETXw+rAiIxdeKQd9GNF8TWfXGx0MGr+j2ySlfIlLxp8kU4bmWkTC9fjdb1IwrkuAcLIl0UfVLRb6hvcnGQyYqI2/TpOCrP3gfTt8gehhQyv2piVJw2yosuGT9RX7rkN+hj/fdjSm1ecFreqSvvgsPmymIKSvWsWFYCFjBixAwC40QxD45E/M4PRQqLVlwURnibKJeQv+4YOE/c8VnIutRcBZUklg/p6aUhpqtkEFLCiH7FEvS8jbBsO+miIk5JKfJ1SFUu4bdmBeKuA3WbZ+HTccdP5J/swHNnRRE1DuGiO33AZJkvDloR2l8zKVBkVaZQGGixkeIt0HsCrTwuebE/amHLkbEEEvzAqVG1y894KyBHYjb0jxPjD+xZZuxSh+4N11qrXfBdXjYwPDAXge0aC+lq4H7XfZEiipmnuLHhmexmPqClGMttASWHJ8xS9ebTZce9zLCynI4ZGMCvGHQPqxjFVSZlaukBMl9IhqffCeCOUPSeM+QFdGdraDx9wFHHNwoxC5+jJZ82t514umDmmsKjjd6JPR4UkATO843MKZzLkwlfAzIbAqVh7oRwQTpyswwDBJ0qJz3o+5bfXqnzezeddrhttHqrRDwu2rDykAVA/6MB9VJ4oY0GCIBG0wdJxX7g71Y1q8d99QhAID1eGWaG45jgxmPLJmwFhr/MQ/HGdx7Llc2DCfcBxjDKdt2jjn2hBkpigbtusAaa1NOu0l1PTkKfUzFKs0FMZnDrousgWnIBc+5KxMqpcAv5hJrAtRUF5iXPPp9hgRdqoD6vx2mWTqGf81qZ7MweedxSIRnnejL5iMeO0MIrDegzarCDkzx+BFmjtIJQ1/5bnvIM/B7YTt9qKXmuBeg8Ee731Vwn1zrVzBovKB713oiO4tpIBke84Fgp7M0WZaxzG/JX+4Rc1ZeD5lGF1qu47ua/GYHNPRYUDlzHb+a/Im2ocnici8O6UYw29VLjHv8vmK0YWNPN8swvIZ2MoTRkI6O8MInH9DmU1Hbdn0FaWSbNBfLwlcyiYP1K8PsZ6+LHJu8dTXBPlpX5zdOyBrjJkinyrkm2pyOG5neOuO24X/0jAq2FZ/tXdLcSHBjfr5t0aE3HmPXDeTs5oYSLrskq11azABKfOygWEqyLn4Q8WXWOWKLUI93WW11cCLZvxPqHUwPeklbfj6wJs03vMCpgMGeOU367N955UOyJxtvKsKfJQhaswiBBDuCTbK+YDJBs4V20tVMIWlBvMEb2pryKR+N3HFyuXoZttMMuNAMsPaIpaKn2ULnCLgfAIs/lngLWQV4mWYxwjQ3FAPA9QKe41fPTBXCkKvFJ9BRDHCwJ+QdR87NVMhMXk+gnROcTzPTf4ZfCcMx8Y3xLZebdgv2IZ7XMlTKiOaJmawuT/VUPy1Qh9wjIdVKGkEyG4dgnzSQhc0GeezpX90LqrugwTlOZLy37t8kYNrik/xjPraPfQAmLEtpx1cbneJOLl3FgLQds5isogZLEVGG66Z2FubDqGgIMBS5BIb0eOwbeHLnNAYGheoxnBmmHlFqNail499M4FeURV897cGs53EGshiOK12gCn5AWS/PY5kCvcfW4tldifLJQnA0Os4UCDYDRJfHUNFoc5P16lHSMLaC/t67Pi7p0kSGuB8527DDNF3/x1kHWWpnYz8V1CE+9KQKbEsUgWBZUzQP2vA9l/eZMrC32GCxZrzPzd//zA7woX5TNbZ8F7bjMcOOXWQu3oTdKe9soAgC4n6YePrRfdMR4oUvpyT9dNbzJ5HUnIGUDJIGQCW+gTuut2uGYRQqWb/8V9erQQ2JOwqWYbQsY9CMLZBGdSbvQe5zHyllaYB/4igI23eBPUfTcUArP+rodB9saNcIREq8yH4BNeaS+mIIIhPxJo1rFkE7llsPCQOuRbBplI9t/stb4g/QvtUFpcgMWzbGt15IPTyTKvKCaavXqLTuORWQlcGaNFoMQy/BhpVh5oWY1EjbkSYpE0ZTbF7MM3fbzhJEmWAyasgtuvGM3iIEHTQRKbIEofIX2vmg559TyS+AgPrhwbewTOyhhtUNBQwdMN2AZGSx3vhbbHiXlOmOz9ET1sy97acYFgdtyGg2reBAAGoN46GCx61NcuLQccVjEXmxyd7Svx8eDkxidJskM0gDjdaw3ZExW7CoQDT35q1digRuIbTxe0W9JfdIYC5RX+6o7lWB5RWAMUcmCbf95XGntzgeHaWehIgamyovhSyb5aUHWOcDqzTC+/vE1699mpLn2alzmEbc4bJ3IzWkn+kNrfsC98YxxtjUzwfY4i8oTB/THD/qDUMHHfxOIRAkVfnpLAKHnITAeo3wRhlqkiiokCskqAr2tnHlL4/vkzwEJ2LiELBYSx9Xr+G8eMGm4zjeZSk8cCpjwd1F5OA+kdLxUUAup+9fOu/AU954+tuh3CFx8GjLa5FTmpMjcSimXMI9i2VAA/Y01CMnhFuXIkUu1uLxTMzmR+WJHmEbWXWiecbZK2Abv5dH8090nm0FUGmOi95zi66a4ICVDmXhBH8oO8YABYbWQfCbb/+q/5kvW3kZPzy+wYzWf6hPoZOcXrXOZK890N60mCJJnhjcqVEQROifW/c0OuGvNEk7Fl/PCHwtFps8EsPlSrinqb94v1DNOJKXtI34yQ/7E6RIoM6pCcJT7k+owlar32wjFy7dWBPMsEhvdNNczTnj4oqAmJBaoucjOuyuvLXApQAYk2Zf8qJa7hY1qhwgbm1dDWQ3NTH5OoHam2O0tFI6SHOwUBksrLzUeYlx0TYGVlGY4bSB2Ufa0tXmiZP5Fg7jBQVCCASJdJIMAA5KHwAXoNVubu/BpA4f6GF0eKAdTizcgSLDiqY5ERqhMzjDFv/FW2bsJC3V44wn7fIhusPYvqrogsLTCwIy6ky53wxuin6eFQoX3fr5JM63bBZ2o3J4XKXn/8PCwUlaml9S8De7SbFIflj1d6So/Af3Z7LGfhj1mvUk7Yl5ktgb8fjO8rMjcyHMELcPvsmUMo4y3kFGkQCCbtVBiRScuE4QJwiMqGaW+mHiu+isa1mRsMLANgS4ty8qndcbdnM5zzg5v+gUg18+utKNpt4MPa0OOEDzRxowIu+DuqBPy7lkVMLB6ANxBMgtRx4wBAJvJhljoZJrMWNEQ6Cr41PfUNQ8nVJxZBoRcXdNwL9EaWjzeiYS7yY0QqdFWHPfUL1qt/qVSope4nN+CLK9ysX64oCw6Ce9MYgjx/glEabnUKBJZietHIIqRo4N91DJ1t00J06iX02abCGiARQDQ3CdB0HN13WbVEKVx+Dl39/bNu75FvDNZvucgCsthFhcG0uDtvHCsOz7Y3hYFIPP57WoOCVDNJcmxtz+Ng65zPH9AkrrclFy6FgKlsKvjZDXxPbeSQPEb1R8NM6xe6uyyzvyI8p+sjbyqyL8RcLie3saxT3MrmeBXqnOsUX8zb54Ypbikya+3jghjmr/ySRXOSAyoS/LitcgSq2zU9fwFRM7YHXfTFC6Ylh1BQ4C8T6tpxg/e9EItDmiQdXxKa6aLlUyPJD7xWSlUDnmRYIaDs4btsTWDenpJpyr38oMoNUgsC49N9shfZNUYB/oZjbiYSZTBmAopruTzWJzEMc0gUbj4zOaGoy5g6AlMVrkMt/UronJK4YwQ1Fdj6EhHgvpwUYyR738xK2E2HllYAvkkBjhgCK9fLKqMJnvViHX5f5seVVV4jwCUnfe5ZRkE3943+LJdEfq6DKFeudPi1/HYBB1TIROnlzqXQRKDTxGBM+FJL6w3nMaqznj/VohnyfEXbhdyBwnWfx53HVy6FJlUuoZkiMXTDBsHo9NNT3yIMPOu58OC8DxSPZySpH+xlyHv8Qs2yc1zanEWuRTmDd3XNJThunWS2y7toiyCCeTUPxrllt1UWGGXGN8dLydER3eycw62Sv/5I9iG7SfiL1kXRi/D7iCqQ8vMttAdh9x2g/26ueG/OlpWG/TcCJxhYenD50ZzOYNxakR1Mf8KHab19RxnXlM4QlYTFTZx7Y3tGvp+oC6ZQFOgiMz+ECiFgk+DHsVFBHboeijk5LpOy1LW2ps73M8elkaJ1g0QwhVY3h9axFSPtn1T8oivIUA2EenEBFMOgxeI/YudxoWg+ED70/oodo92Et9WgOLTrqSFRMhD7U5mYwawuDXblW1Q9OP8Yn0lD5o6JWv8dTil2iAIGEIizdEXrL1utyJ/K/W4B/8gvqvJIlYbVPjFigTIkTKvDRKvNcl4mpLDEysg9y51KL1YqE0rzc2Bru4hGnjFxqG0cWLsA8QlsE2WhHBhBb/zpvmwnWxwk0Q162HdE80GrGGQSFrsErw0E+LNLkw8PBqtiG2pYECSJxem+A27bmoXwGym7yuPw1ytt9W44mDhUd98i0bbuB3r6xd6S4Brp4/pgvc9hy8HX1UTsMPq8WtSfId0cKNPpeHFqX7mkERPpIAOunzb10hQVs7hosOsWczkyqgZ+X6oeh06rK4TMXSxjvsZlQc3qF/SrTsYVp2hUovh8wib9i2lZjJ5Xwvjz3oscnp7RVy7XRk8rtjg9TQt71+bP23mKVCdPshKFYi0H9Gq4XD0TNG3rw5nX++4gBjIiA0kQSCCbpv4LxZWgJxErl+R+lBkJO8A1UJQRN/yv9893iLCbbvoYpy80qJxC8mzHEmTbUtSdb6FOo68AuRML3ikPzLlPH66NtbTe5MXtTFQHsaqeiSg8dLb79l4lkcIdiS/9z6FSajakjrdxeXFg9JOATleklWC8DWhUPzXvdVs6eKSovZqU9yiXVhPveGCG7ELlNqUZN/EC2jbaRMTKAXj+RUU2bJO48o1e0Vhfv+jh41k0zgJjX3ML07T0ILioQ49BJ9xtfPZId5y3hzxpRmqDMv/JE7WovJ8bJXCusflfI995JdLYLTLmaGD2Lyf8VwI+gdM11U0ksIFjMZ4m1CENr/3qiS0SAkhzz7tLIRcogERU3sN1pYuvNVuA4+VpDAlrk1c8uvUU5/Nwj6o5i/HjUkVRXSCrQulO/dDPWAIML2SwKRQmzInlwqpzbWpOvYejwWykPBXqpjIK+D2W7Z34FVYC51bq24msr3ha8dfIp29ZGc/cxOUrgwwtdAQH06QJh3syHMXXmRrbOgOl6afLzgiQiH5Pme0PyWnG2NOYniKeZR+cbUSZwsFHYAcQqD835AjEvh0koqN2wMMgXO+YOgtRulNy4uCCZbtdkfEZiX9rVBEfQNsviaLCXD/mh2meHIllcextWBwinyiebaZFhfPvyfOd63iu5+PdeASqR1UdAhcTxyOIg8mxUQSS2K5+cBHMScg2zwiqQOmMf4IEttqeX8t+4+S8l96PhfQbOi8kK9ZLzssK8U2xRnld6sBo7Q7hetBqCS4gkSRBRGkiSMPlGjHJujSMFDa8aB7T+tH+DnjVuZrAFAcBqybIdZ+kLfr8jhDpOxxdPwwW8BK/fX90BDsH31Se3U3FOhC8AkkAjtkeNGYszmb9nOsZfJpA0GDMQntUekLlN7YRoT1tUl1boPWIIAy9Qg/m5K5IWpEzKlqmGe8WAtVBqVaP7eDymvHcuQcFRC1awt3QKw7+7/wQHBoKwBC0EfJnchu92psybXIU1jSyQIVLaBJj8jEw3tfBeJeIdTdc/Dv22F0pJKyLkOq+24v+gIOxISpX4n2ZzulkFz9fPVoX0lQnS5/gsrmG1KIuzEuWbyUNCfksXdAQ+BzecFAb1uH1kb15elt07kU3UY1Cd3/WdzseEgJCi0nH+/994hqxmv7OghBM6qSMEvofzk1wJxAcAN8rtT6TatIYkDMg8rozISiqGed6sIvtsMx4JK/gTYZvA5j6hVOA+xiiq4RY94VOjGGd5RGDoES3YdGRJFLlXq5806HUiK2FwtlShQtpGuRuPnYYjZZ9UWzGVTeAewrLRbR3NeMr9HarNX6hJBSdXSWzb6LI78BQ/58abuPNudFDiz0EeONRiZjPbaovHD2m2sch3fVekgPU4hwD4d/5wWPmGAkRIAU6yosW9rxcSXsVmk6VRcJTAoZB1Qe6aGP2yHsIvrbtVMeq2dUL0Vm4UVMnN1s8KbZVXakzKGjhD/YX42fnnum6E/+02SLKeUe/K7cb4vYsipxoFWZdzK7+GJIAhAPj0S2SV2qAqW4bpp1+uavVI+XC0SITU9gpKTK4XBC4QwParbRALVPc8raHVTXng7LLMV8PzxbPHJa5PK6aGipF9w8feoF6hxh8muUUxzpOwbJjLDcm6NzAM4cXgz9NwyZjgzdbTW4Rbxe8g0GfK6Z/6L4SxzGISF/lm8X3NCoa11IsWu9yd3mq2cH9PfUIDhG8y9SkC3pGeEDJeYnBdfUVvp16G27OYNqgt65Ka6dePFcBAilHgqKl8dKRIPRshUsMOOKvcAdt/+Gsbld8ItQeoi4eEkX8Oe1ff9bYv4MkMRVIZbUm4boVbaB6nHEd5FHyN3X39Zbz8de8Nxgixm7TJckSi58Irw7whkYlpS3V+cYNl4C7NzgqiFOl/DkumTCnsIdiRkmThbVUTNVUF/rpWA1l4LEetPal2q46EjJCWGDG3FTBBZsJedude8tgVNBGd4k+YTLXCGf9V9NpOrC1+4wKc8Zl34OkrtIO/R0A8NhI+JHWuGKwKwQ3G2TkMqaggTLefilgUkXSXnUevIMgsu5Hpl+Gsf0Go2yaD248IA8dpissQ1raS+P/PpNkIqVepho4LwwGwV7jCbPuJe/nQI1Kf79sEs57Wmfcb95Luu/AhviJVEQnZ5r48EPycaYJRqWFwEvcenGW8Fw/C+XcGKn0qri9kbZqutVMx5Zf7r2ah18N+9uQaYmxrOIiH3R75HqNP7slOq8vzOuIAl6iZtd8F1ak+jt8dfmhzteaF1z1POa6pl0zb64KiQQFCBLo/PaorepGd2mhSdzXsiJAJxT5IcC6V6hsaqKHbe0I2Rz6jcxdZOt8sPgenfEukXKm7KoXgC6ZVawNQYdULSmR0u7iJjewHmF9FOcsx+QeYszTSGBREuf8M8BbCgFh4UskrLAqChdBjXW27sq5fsDGebN79NbwNWkkMsS0X85fcLSlMKyqDFtcpqNEicSQO+t9Ij7lCRFJ/N6Pf3vJtDoGJPRZcE66LqglQEvkvAgZ4ZXodi/LAmQK+2j2yX9+hNiuVVpgeFh6yHglS3w2edJ6IKIi+SZzu4ANKeEjTgNYwJzlmqhl1L7aVXtRyVs/8XdpJuiqcKHciMS5w6VYnmb3W360EfruiES0aewiP93gZ57y3GaHEjV+KCC0mVrWI6ROQcoOpeC4myNBFfLNSoMs4A7045rZ4LukTfaDcKJQUSDr5a1lcc7Jksr1ax1lpWtPg72TFJkD6abxdt5IccdeoBPaqwdjE3TBlL4iioI43ATNJSCTQeSSVJ1a4Oqr2lejN7QaSAaKfULbFh2vCB0u8Uzt7Hhksy9HJcm53KOM49lXlET+cwWgcGjEsET7i2u2AdnVTi8kxxD6a0x34joDA+ZzYqb/kLhYWlbWi+IdS8BTi+yeR+YtCES4UQxOamxcOtYCnhzCFdr3aj13u50eNJ31DuwUO2LhDtaaFwxBMsjEddCgHRMTIYA8cB2w5Jppo+3cO3ufZ9zxijf5hXyvpGB/Jwb3ryIUlfaswWfLqRprEr0f4Y7swxnwwylvXWvCq/yD3u0ivii7t/k0CCzoTZxjOYVGdfIYAmflZFFHiz7ixRgOs6U5acBsrcxHdg2oigH5ckc/J/8EufTKetgCNO+kknGrOQjrcecCojXhGcVAn68c8tYXh4ivffVaJWmCVtDYXe3Z+BgisjLfuQZyFh2vFuhcr6FK1IaRLBi7yyTLFkGTSnIomanqB9W/CQkeM5YyWfouVoWpup2e4SWsZhW1DZ9rEGZFa16Nhlny08b9FO8Ob8CE7ynooOXIPx/B5MEOGjfSKJgPuplqbhLZM5rYdVEaDPGOa0zqT/Aq8tD6Nscv0gk6doWtvHCciTkCYvqQyhcdA6WmEcO5x/DOO7aqhjINrs3cnQ0L3AH5ZTgmv286FdM68bMOo1+TVGZTSL+AjUBrjAwT6m8WkqT5GVKmltRWtcZ7lQmZLmF4umsaqKDYmpe1uueQ1zBJo95zumIjpd5LX6TS4cGN5ccr0bxOEG2MvbTnnFeZO9TKqFm7DuY/YlPfsQ4FXGa2nUmqjK3fTs16JICeiQVk3SU/iRkkxZaSGFZHjos+HJ51Vww/HBXOxDiss4eOts8QS45fE2SlKznuJySZKVB+Yi8+xhfLhBxEKQ1Wt8K/hkI3EAEDm2s6Ssy4W8oY32zHccgYLjokicZI+UfXmrcm9W3507dRXGRefz1D4gEpR5KOobRCAYQivYzfUpQF/I2s3z1rKVBS0op8uXRiyIIa3Kr5MKZAa0OMXqxIunpflsPW9jeg59bfy9OnwOnIY15+3/ozxztLQEj3tPNOFx13Akl2Xhza3t6ERIdQhWA2wHH2ToJmUqvpGYvRyTi9Y3C8nxubqnpfcCa3o7luKf63W9qUHVBNrHsTMFupVT6zUK9/agOOuf99fNBQZWiNaAVjCBLFk2TyPaUaE8ZG/vRFY51f0otlk+3ltHBMhtczNdIFFihL5WATh3vPFX3Ap4QF/TEj3AqoS2LfPtAqCaqOdiIFzmtLnOxBYGr1D2pP8/7Haq0cnWPdCVD+8DPXPBmr9suD+zcb7jLDfLg/2VgdrMktAHr8crCE0judivYSYok0GCIcKBshISraFyZQkqCY8btaM81LNweu38SdsFEXKvyxrB0SLC4Ti7T2pZyn1c2P7NXbwNA1TyxSu02zJF5FyXEnxCSvPCq+rxZThgBkUwfxkfYi4VDguECdow/0gGY9qJD+b+sKsBtRlaBhmSvbv8tFyoovZxer0zOx5BIZ7Ss54Li8TTxxfd+uoKChW/W6Gprs1wyPWDE6GIVpeM6yu4S302gxeZf1ks0q/b2P4XrEuG1kOK3saORzPpThcwIdFr5M29YENCiXiiykFwMvvwBDpdM01XL1qbYLztl+2ha1r1k2TnkX4xTvaD12Ol8Uf+sLsFxnBhu0vJNqgpdHYPhVTneas2n4PUoLCR3Aar7CjNis88+J7PS38gqNUq5afHyWUO9Sfjr3utx0ezODRbpWPbh4+TReQoUaUoyExdmLclggaWDylGAdfQ3/VWMMaO4N1601F1YBPEWcDQPbibrGMjfQWY4+0CzKz1rufwMmduxQcGKkndWHbD9uVSq29MOHHTSMDEyu2OGNtpw/Pj46ZJLf8gFpMGHrNK2hW6fWDTD0wsd/03ZKad2rOF/6pXA3V7PDeqnIxWed+AP/YMjLvWr3ocQJ0gy4o9/Ryc8U2p+9aYcK0blC3PNh7Xk+8Z0Fzf/O/M8UN7hoR/AD/wwYXlqpx0nDLV1lJwZk/NuSKJBEhCX9Z14uGLo2Xeqk1y1IN5Y7E0LL7Xrb7BrI7zmnChD4flZs2+Ldj9P7Hhn2r2cqQu7PWrUEhw3902NavxhHq7Nfk0JUR7DD0cRvTuYdSZYLXIz8oxR9JLA0VTLh5QpBG8uSl5blTmNTrSHcDgVtO9T5wfaAritTI4N/LXAbmgqmHdSyb0W7shHechihJL5fYaxtz/pTgK2ev8NWks9lRMZAR398JPIMEE7O2+h1NfrQEeieKk32EbEN+QQiSBB5pQgrCUNcqvPS8/oonm7NXfvnflFnsQvLlGMBKRvLpkbZn8tkZACpyo+jQzNFmvW1wrLOWtoV0J8HqfRGEKqGLwsnWdmHhOgn5eSowiPuwnsZjkcaw/jfx7LdA65nSWNLQgEBzOrlZUEAXOvFe7Wvy0oh6GJaA1XlbR2bbDOCYTMAEstMaQJgLNed8Clg95YaIXRmz3qqJTDbxxlgXHs1LtDPe7FX5ctQ+dzYRb3uEMMNkkYyXMgqz6fLqE07bFdT4lYnXyOM7jEEY2wtDCBdfikGc0FsZWUe0Tt0jucpErglB3PU0Nypp3ZNaG3wDv/sifdDFaePhu67MEelWtFcOqsPv76dMuyS9/t7X7pAtmhzQQ8NRqZbpwSFDH1IDxr3S9ytFVAeiKfyFF44hMb19RCkFen5SOwI/018+UlG06llSSIYCwb7J1o3ZKeAYTYqTGrRZVmMScC4eAD6rCuzy//g5r4dcWcL6OTdPRYa+G2zrErN4tzOmGj1nHZRRJhotAXfgs2oV/KOThRoTBYxWp4J7nqoh9hjWGN8m6B88dL6i/7IYjUR1qgqLT4KLbF6nvBxcNwA1cdsaLgi+OcA/bbgZ8XTPtX2cIZXZqYOxs2Qhsa6zszS0zx8SKkvJtB2VdkYahAW7kgALwW/7u+mPAuuPz9ZHCl6Od0HDManRy+fSXY41gwX1GddCi5PtQW1n/foHPb1tjU3z2gEUi5L46dQULCTo9H2VDAcTiapDc6qFUHeJVdQlMnffVnaywPiMLKR36x5nR1dN3vxepprSGSZkufjfz6VPXSQgGiiGlzDbW19vW/5xYRNgocIoE8LDN27Cu3Mdfg7Mv/I5MCBQIpDwOoHys346cQBGBmp1TL9Lmv7ecREKTlyM6g9iGn092uGX8nwXDeNTfs8hxXu8a2y3qZbl7gtCxij7fX/fmt0PzpjtHb6G+OSq8P8hSBFkMC222ghUgYotUrBYIs1vVmTlr+7ziMIzOGkQRhdlR2Wd2/BR/+PEd2VIGp3jKlSf6c1EswTRy/DjYxm6WkexQuPh9BGdg2tpMwbOw/7l1DgCFxQ+1ZoNJcd2dUrslWJrVzSgzDjwEQZpJMGp+C018pUFpsbYZCitph4OWaFkONuoTcTzGKUIBQ1sdxZvk6q17Oi5TIN6ybPTwXbOgb8JHJXdWWrs1Ec89Vthzy0EwCVneFsb7yJCVIMAe/thi/HqXOaQDcnxubZn0NJVKWiHPVng6fYL7h84E9SGW6LZ4BVbDKjQNEUA1h1uKnlWjdmA2Oa3//c+c/NH0YpYrczffK/qcHh63chlb5RnY5jklx/DjBMzdUs0jBi60XRfIxLr0AMzjXk4lFh+Olkpi8q556OZ4WaB6mLIvRJdYddVJ/5cfGUFs3Tn8jjoGg4NM4KNbwILKrHPLUHPSPT6ZvEMoNdeHHqGRWXbbI2D+ppI5KS/hhE+eCPObuHZ2zC4FTjc894I7VuexPlRXj7C74XkDuQnfC+4tD7x3dHLCKUW4z76qGngPVgY2dcrmA85AbvDkHu9CXGFhkpjwkGVkWfbrLU2qkGMrfKCr1hfucmXEO3M1VWp+k/DGKs7kCansbex9SCspog2rC1gUnMTxvx/87WFfVcMiYJ7D16DiXb1EK5xNTACGrBKDDcJVUXbIab9VOGrr5MTbz0y81HxPnGgKwxsOkI1Uk6O4lpwmGvqqwEYXm05HgPFFqEvr5uN2IT8lEKqeukkH4R3tYSFzyZ+EfoMl/5dIE0ZIksnRZEXuXyWe8BmFYkTaDxQt94wMasAJA5neZntXoSc9FrskqjyXZPS4UYNhALMlfNGZOzx7A4VReguO+fKRO7L0t/uU+jkDk6x5mvyDcEyizeQpfMLfOJrQ4yuT52O0lmDXsxu20tlcB5odLhSDqGhGX5JWiPAIc6L/Bp7hmDab31mxa+QshvxDy/8/CPdPzZTlHr8qQZVrl+8tmwIyT8prtSOjXfeO56Ofoib1NBsieoceb5siZcS+3qFVy5j6YM4OyObiVfvYXfgVhQ7EZWfvDImAJ9HXoLUYBHxjKrei9hEOOppd3gz8vEOsTUezvMCcBU7IYauOa3CwnNz74Wqn3+s+7Ba6no8f1iWvZYZ7w3KT6JR1FJTn2BIZnZA8GC4WWtWl3hJ+jKZqm/ywETuE8lmcIyZ1/yM12kNGj9J7XRHFmFC8IojW9F5F+n08l48XcbFhLDGBvmBVu+hRFLXbj1r/teVcSOUelUAwjoZmngLJb1Wu0gPIB8BEgHJ7ZOpPK+RkDgBenQsrqF1qySWvtYdY9r7BTqziFz57V/sINFVucyzGkk1IX6gUIwRCVdAFIKn7GjRYUIXpKVwnXtZfo3xcqvmk4Z7JPdKZSo2W2xG0hpJUvCVcA/tZ2AW4Zb63Nj6gsAqdFXxOJ7sGftel8WpKPTMcr+ZTR8K3+azulIpkAuzeH9QAyYpBMH9Ff4+qFxNYI0bDQi7PvTX2pJDqzM+dhlfmip3DNw6JMbBvKkdw5Q4YoWCJ+VgPvcRkn8erIqEhx90LWiBjJWYNXFZdCVZjeGTwiGzTnS9oihgcVaYt4DDfcCivMGVEMifomitbIZj22wD7886lkCarg7GP3YXnap5sgAyRY4dQaYem4Y9MAwXZaSdj13KrbKWARzrlU+vEhHDeI+zqynUNjI1bTnkzeiHZeU8BkL42v8ZP1gCbEZPGUFGHWAcWthWHtB9CIbdx48tv3YkCBtuCk2leHri4GlwftCoJ6U1FtxS/b5Ec+uBNFtn9Wpts+mNbeCaa9Ob3sEWDbw1AMOlCJee6IatMQc5s74HHv1aJM4XVQHQ6AaZKEbPHCurM6lSrl3fP9jNiECv6TtIBbRMBoHhhBiVCch4rgLPf/2m/3H4GHYTd5K8T5x+K4G97AMjlA0xPWdh9yVF0BCuDG2vDLWe8nV3TVJgN6N8h/Iy6Sgx49CzbCgWNuwRzxiubGvrpL5wLAYF59OwjhhhEQ0eza9SztZe0OYWAV5BReWdpjFALFAX5dDuP7WxAOvsar7PPXdl0S9fad05NCGMnljMZk424XQfNwqtyc03uZJTt286+SPMPGuEg6JDgcP3tIzqpYPYRFfOvqQXwTY9g0zji91Cadc/2WGqqe5lV1Ym8Ca2cREsVq9dhfeLR3UBzD1XtHatNa6MKDgKFEXClP8Xe0JRRxQ8aZe/pkeQSJ1n3WGbOjEA2+ZgdxJxU1E2fWq2FR8kCy1D2os7FP2+yDYgym6egfy80Nf/R887k5x5v5MS/7Wn8x4G6JGi3W/hohvVNvpzblT1dpM4Z7VlRg3mok70orNWORlezUZkmQYxlNHxn1f8GcB3iMP5feWGVb3DOLVqYRvBmiEx8l6vS3Kf7P9x1S4Ovg0Zvv//1qWemaSf6C/2RR1Zx9LsaINukxo2FXIwV6ntkxgTFbqcb7qaiL101/qyc4kkPZlFGpGMNhaNquSzUBLO017XS8dU6yayLiJUy1UZrYlgpoTrqw1ndMHK6fguzyHOq8QkC4EKwuJrP+fEv2i8yJx7yosRMveqVX2JfbyZmwUunKmCEMXmHHAdG9Nbd4320shmJjd3/O784lQhIvkL84BTSlMIx7EWJFbBhDwBk9XaZlPmdrnNU9QsJeFvLpN1AhYNkGwy6G/PkozetEnKq5Ap6rtsEZDF+9Ux3LV79ExTBvNudL3KK6UQBmzY1wQvJ8mIwSgUOqunICWLXgGDa7gthy2p/3QIzzmlkYwwOhexNGb4DheV9eUCWrNBdCHhQ64vkJKYOGE/6ZSg7ESPqAKZv4GHluLpfLdUfOlAy6CQC9Sp2J6FtSnVJqcCDL5ljr+qQ5OCqbEvk+TMa4D28RM9mDoaKedx/PZjR2pS4jC9BRKdV9ON/q+P/TcddAjVorU8Hb3xLJ0PICAQSPpAcZm3tWe13PXrDGEA3wdW7E0myPoscRr63geI0xG/Y15FX/wVvvJ66C7zR3kb0NKhZGwJ2oanOKJpUceKXEDjFj5WqO49M7zBCXxARJHRL5HMspeP24ABEmc8v+GQpm2H9h2Vm+GQJfm3rezbpSgFtDlGwimlGTtcUaKVuefb1AfxBsi7uuQftBEN3LEz0bFK848SA842zWE2KvmKhlGkEWuUuTHqCiyzy8aEK4OYdmdNBnFBg/Gf7zxp5p4vu6gxr8+rT5yUQoXfCQpWczOKjq+/iieXkWMu6UrIaD6bquGw0X1ayWoSt/NOZF1Qm9qBWfEzEf7FAf0mY7AUwPIRuIQA6UwxB+N6JDg3rDrwyfsCpXHS+yVt01rKG/XwyjRIZwAaF7RE0ICD9ie1yPJonQbc2RQS+ZRwfOue5aigSsBrk7Y+0K3y9WPwD7fNSiRBVrRcecKjape8nfWUT8E0ZLSPZvztVugJ5/dHEFN+ZBvDh7/YRDZY6PcjZPeIWr8MrUmTAh/WIjT/V+3K+UJcTtwfEQ3nIqO8xTiTxP1Npd5BTtlepb6aZ1jytTZNrEx46xMzIoixmYB1cwtTCmJkr/BqWGcjYh/KF830MYiGi97IC45oPaIGp57OCYA1c02vFZUVq/RqNLM8XA/XGJciKUWeOuRRXADxmHR9tdfVercZEzPWPO0vNPkQDZFgbpYbWLCdGDn97xeQofU71/lxZkF8Idur/6MoAu4t/0T/EBIQX5jsnkr5t2WCGJmit7ei4Ia2Zn0x0x55bB0j8S5uJsHDiUXxlFXCesOjxXIZa/YvYbQgDiLzP59T+lRmzEEC/KzTCl7qerD/Rq2d+T/7j0RQewkzobDUcQDRrRj2U1rEGWTW44CQRQgRtJ5qljJG/ThDXv+9XFGxtMLuvzLbSEIIkNozhICoEJZABmmiLFiRIAppWUF0Br8Sxafu6gYcvAzY4l5bZlWyjDK4YTEHdjltWLFHbPPx05lkFrdCG+83ro7uSxHqo0esEkNf347o0Gup4FeCyv2b4GBPzqro7VD5+eqpQ7w3fFK28hj9BkMXmCahSpOKITmZwJWK/zgN/pTxRkyFolA8dqcmMImaGksqrH+Opw64kfn9m5W/uZPQ7CWJ5ywWXf+jkVPvwueYLjJAx28IWETDDFwQb4qzM9Jfvs4HuNAZFJ7Bt7xT7i8apqcUZb0NBlwctOCfH2T4bK9Bwt9Uxfx1Ac/w0WLrqvA493raLsjPvmGgT/5DMhMwHGNPtEJWQaXuNAoe28yu1OQgVYmmbCa9XNU/Fuf/aNPB2qyiOjcMRrImgEz/pDdvxmwzPh3qXICmOghX6KeqDQqUY6bE0Lpa5eP5+AiA7zWSuKL1XZPlhn+/uD2TeomuPoY70NFhY8MWPNw9qcfx4Nw1hMQIjCwc98dNvI5GjcnPvMVa8QywggU7QniJ9/ztrcY0RyfeUobPlpoN1TWckYvGheWcZhR2l4UiTlm/pssiVgUQujYQAPuGKwRxb3K8kvLMMNAPQH74vBgGyUpgz4BMKz8gzl1vqARLfYu45xRMkAYilgteDS7YqwTysX4brAsM1RVvGTpG5sbizXPuJpUmH/0TnV/0SQx/f7hkvIZ/9qFOFqgiGeVifIRXpnZu8AH+ZnMd/rFlZDOfHmmonu42wUcoZLzdzpkFGEhxATCmIqdeV8HZ4Y0ycIq7zEFiwzBGeJqnxEJ6UkDinoIyF/WQ3zuf9AuHgtbmxArG1NpPOKgZAX3Lwe2RA5HO/1SohGe7Nz38AYgVvEzNlC4ZiHWlTuYsNOzWulxDzmk1bXMT9mrh8Db05MTnQWcyQStM8xpwx+V7EG4EflNdM4aFKAZXvQEZkNQSk19FLT0TijFg9snYiKU9DTbMMo/IjmsHFW32ZV7OVpCoGFk6ifTchAAMMLDocvBulm7Tl+VygsP4sa6kn7r3+fNsnXnq8hsWK+QWJ0hvYusAI1be990n5p9oseLF2HiPnoSoss4nQ8RHKkxco39CpwPT3EsnCez86jYzmCnKjglOkXuR+ya74qBSC5X/4jiPYBnLMJkwvJkJiBNu5760mRraWQHJcOgipMd7M+0cNvN3pLyVi8058E+SkZK3sS/SlIEj+vlos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/c//OwfVXv78j4TRaoAZfGMm57sv3U4H7BsBnn7yGoVqSDWt6NNRMyJwFmpl0YfRyUVz9d1AMnH2gFENC+O6mmM4CzL6ikkzAiPX9gBkGKS644udAaTMnYi9NTT2+wpEtd8kCPKF4BcLJH9vtF+xbyKNuuwjnpqhQ9zayLiW4uEuKKd2dX6p2DFBlVqix/3hL2Sqypcud1jGVp82/9h1UihrL9OqgRIQLPV27wnqTwD1x+elWMcCXrIPXvq4bUDE479s/ns2nemag85YJIVllfWuuj8W30H7hAOj/vjZFeEWwcOaNr1EOMS+qUVFxl6mW26abt5O0JJY0wZl1hcWEXv5mx5+MnYOLA8tnbc2yEeocJxuWbU+4CZ6zvxoaT9Ht+ts6X+ke3mt0FNDVw68SiPDAlTSzs1itqtz/EYNnAGkWMRYdSwnSuPQ55W1UcPSgdJOFUzINMXKiXpQcSY9qiJy19Fe2rgcy7UBr7vPvAhAmnfxvXGQKhdQpiQmInpZpPEjvdTVgEhf6kTfZ46PTZuqGtgs9K6s+nYa7r+IB01djlO/YFcXKAoSD7PYQA6wEpcriiMUWqgzF6YH8kvr+xDZrRAkqOTFVVRCvXLNDBhOKwjcfSTqOqPT9uUcXMVPS28sTsv3zYlmc3N2+8dJKTNSB3Zr3Zbqg1Un3qn14cjj/ZAsVhPfV5zNV48QoMTymyb+cuomIXA48YEAAmRtKpGu+h33QFDHEpakz9axgN/oty3ta2Jkn+ZffH3h6y9uxrH9bORt5q0pN6z26vnmcCpEdgFGhPJX/Vir3J//xDtRL4N6o7wKD5PTecfXlii4t7mCBnixhY7XI1d64yUL99eebZ8GvgMpIYvdMXMboTsZFQMDfS42uDXq9wokNn9hFiLnfrQLM63xl9x81z6TbMm0AfgiJTCp4Y+uQkfxGzc6e2tuTY5ZE3X6VN3hx3gBNq7v/wULdM/kKJI8oPHtPFJnhYQeBwawTBEFPHFSCnkAU5vhSEABguMwQP8yS7bi4gbcan3TpnDsbqCcAvEGAvQ/s7FzXcIYKxB0t0rPSHfo6ciUwEW/hlNOIEqZqg63SFJpipz1SKlQfm6P9fAAgOCCEj5WCD/U48TgDOewZIDyQmbhW/oiqZCLNE1pyJvef6o7zeRn0VTtJapkuqQ18ZfdT+t4+Bud9iInbKMDyawdp4Qw3DqPz10egQbFHXwynHLyU4ATIpftSvc6kBs95IAKMs9pPzA5+aYzeINZWkz0qU2+sMHw8VgV3H6te5EvYE/ChA8hncm+P+Rj8HhK+g7DIF/056a8SB8efCqqGS3GGCBts9L/tbVZNDO+9vZnrOLzzRAUVJNqev/GhRYwSYAjjUipURGrXZhpFFCKFnM/bw+28rNZjvsYlF9KZi4kXtgP2meqNncSTrjfuPLEf3sq/vRbpS8EA0LxvTi8jNi8rhh/99uwmhtu4WmlJb9Hl1ZKoJMCeCHU62InPMfDue+UGEVmnIw2DD/JhRLz1Qn5vc66HEJhz0Aodt8IlHQ/ljkzVUc6o6FHtxy06h3fomCU5seHWLtrkG4bdoH7Gj2dkAAx6ff5wwxaSqQHJ2wCZsnAiRjgFEXal+sho+AtysXw5pBhztHlhR9j9p+amq9eDfgxSo9rtzrJgFft6Y+QmnsvBLEGEPbobD7KyvqCt2V1mCfBHKBG+pAgdkXvjCQ+XBREopgut6Tn7/ZQeBeCjYfaPgxGbeKj+n3sgetP3uxfClAzJYznw/CXZIGIbI88V/AkYZ9mFFGYZRJ3S2SrG27s6IacVNMLPSnFITRvo2EtwTh2x8ATCFQ/EnOE65LUY+klHNPkIiZSoMN6J+Yp1nHcxevzlEsn/236j9fo/n1bwAih2fapMzxDRzzZWFJUzQ9LEPQcV1fWh/qp6x+Ma6gmwQLSmzMFL50lkbKEzSR0yk2ySsuIvxAVNfzRi87dylQaLnSRLruaFY4/EybFkmz0jxRr1TxIKZ4RmDNlnATdwTgTy4gTbU+TB9tHANAE2OAZMYp//aZpOaiL5QiV7i35OGa6DeQNNNgRjuE4/dv8zi01DQGWfLuaRFrKJOhLHr/0rGdSZxbpoYOs9Km1d3DcMKB/OzK7DxLARr6gvkxCBnse7Vl2J6CZPrmzWjSMd1UM1pgYAG7c/nZWGty7K24HWWNIOFpWYX4zaS9CQdPUV16zBhm2sMzK1PsrEEQY2zb3PIazbarbwQugnhRW+0S6TgDoyTSjvc4uD66yMgnD1gurdhajH6d8PdCB0dVQZ5XQp9VDt+4u1WdSS7uY9RB6kgQD/kUpyernUoagX2XV/8/4OuHT3bQSyVY8NwD4dut86LT04O7JT4h25ZKGZuuOD8JQjQ/mCJZybN7YGlK+FeyjoeEjSlALLWm5bBx+vn8Nvk11Et13AXSH1UIXAlMw0U2qv6pjo/Pk4L2fCjpUo7T7mKZO9rJrVPQ0HrIGZ9rizcUzhxfl41BLpYRc4v+lS1OSBwh7jaad3FOkLEl1LcBw41wXwzwX9CP3U/jVPVhpD9ihN5XTl5OCIJPp1f0TpijVUKoo8VHHbfDhyNWTNEBp+zuerBfz/7VKwSmGYD3h5zEJoPoORrxCISCw8Ehsvg5hYrOozJ4jmei6KH2PDPnWqa7CtD65ZL7TpTeBO9BoFFhYd7IfiZe3WT+sXTWMI8+Li3Q/gfYylQkQCgVcJitrKT5p/FowqgKEjTmYEL0Ou36YcCYmzwUTi1sb6D7PtgAo0YCpewFNX+h1SOeSjfcp/6z9zcQM59/eC/LlMepsYY23uYzfu0bsZBxzoFapStuvNi0u7xpvqcubmSQIi9ZqFR+9+J4vYK4Gj1qDDvH7J+68wwBLFy80ohd7nNd4d6Usj0DZhcE/Ghxe8FdfvUnJ6v9rTZEF0m7rpyDGO4OywA1P9hZ7y5e1QG+grpaiyNcLBSZ6JqfyZ09DJ9parVgvMSymTbL+Zuha1S9flCZA/gglLjMs/dPnPLL7DQ6xbYMrk+oD7vVcYJpVKbSCk30F+KFaHua4MZUp+/J9eY3+synE4TjuXOteEPB2fbad5US9EcGo+xmLLJBJBeq+3K5cNKX/s9Rr8NmBR1VLTGFAbc/qO9QnxX5TMcLB++CQxSpU6YKAMQplC2xBCA+FunbTcCmuyGa7YRzF5k5Dbz40hwUM/EM6TPjJKRR+MRi1Q004DbedGEA6UlickdeW0HKcS1iFX3dHTgJUb203GiqMClOCp1gXW8Ax5tenfBHp52HFpSYdXz/2pdfTY/HCAonfum/ufUIpy3G40B/OiRhujMAImbb+C3NJdrDFKh6mBP4Rgqnm3l2ObYyatMQEGCFu7M+UMTGWNl9QPJSPVOiQihgPp3z80EHWfeRYQaoaRzT92Jhz/nLUot+03E5Y16shXTBTIvctqFKIxqgLIARS2J7popMKY2a4dTgDnB43oJXslrzhWIwK9cUAkneiaMpqcnrTA4BjBkOqG9Pt6tXq1D7MlLYniZM15VNK9tsADRX06KIYeOYmRKby/MKOp/UgJWkGFZ71lsjvx0icqxaWKStlT3vl8IZSWz5nmFIG35OY+Ek5QQEUZo+1JU78Q16JMi25N1Ijx/nKcBt+qZoHFgXgWFnxYsUzBAfdCknbeQ/2xljwQORCK9ONiz3FyU2qXCZpHpZ0GKeJe+Z26NF0BXvBk/7b6JrwIxmbiFEEx8jyRcOOhPchKssKj8To+h0UOQdoAwIsl9wgXo0BJveTnYQP9Q/VGZrkRXiCbuLR1XFORZVpmPDX5d2xmRnWgLkL+i8KORTQKadZKcnu2rRJY75uAoX5IpesdDLP2Mrsw1HvpI/h/16knZ9svowTKCvjiV+pOntp//Gsa0CcgnNBpHCArXwmykT1n3zdPSp+QBqkICwDeUqgl92K4Pgwqm+0HvjxWFkkKGuXoCrBT+SE4DFWd5enSTsGg7e2L11RBiJnhNrzpoL9LXrEwvQPFGAacLjcZzq2qkwlYLhc7DEcr6S/mq851JWe6GRGsFDqxEeJHfzeTsXfBYv72rKkahC7wwZrXKX4ACjcbd/ocxu/XSW1JrJ7bJlWsQtXczGdFeDH7Sc+ggodPeLUb2QV+zquGBrtyaHjHwK1zkVYU3FV3ncmYb2ZqFMnc+coTqv2WKB2XcPV7LKF1kIBq5zDt4dZ+D0VOGiqpWavS/R2g8bVNT5gdA0NC3bWjOJRP3NfwnekFuWhG4bDDLhBdDYErWIRgB23yDVfXYxj9zrBjEud3CkNtJ9aooTmhSMLqkCkWKcXaF34ob+z9QVq8ejw+Ehk+VaAzbTpeAIUzU7CNsdzfOMiAawdpFxkgoTqNOXq5/earsWoA2aBskASjA/ddeEmFfVxfTmb6mlHf2CDHK/C02LIE5UaeeVC+Qkxr5tDNMaAqK+NWtMSkv79jxRfwBIkgkBJhK+WIM5FVCX1GFL7pOBQHz7jVmvJL7UyBvqvLoMU3gmxVQKa5LeNOODsI7GBhQd1GISriClCKlijn0ELdV9bWGucgQxpSx+1X/Et4sx052uLWwJj2dmNPqDAIMZw2ZnblPKp/8bgmE1sZWf1QX4mQuhNwgbjXlxZBwwU/3qL5bIVCr2EQYpDWB4xdOvYfOmBfqJ20QnXnGHg/Xt6YZhOvAt2rJsXyjH/Gec9wgBobIuyI2EV+jbUjgwJOe6WwGMC0aZuavLKvfGEHaXGu2FoqRGDfqfy9fURcouAXKgjD0ZTwggkziNOoJonAIDIslWk6pd2SlCj8PyXRMdvUNJKeqvwZE5tSni3R1eHAZqFK6vDeWINS9apwm3bbC7cX/GHSrbuwym4Fa/r0dH0gc6jUhFlK46J+8koWUwI/Wven0YucCNvCqMKV9daXacBFZcIgl9DKLCMSJJp1XoSzFjY97wBSQZlzhBxpNpR7Oimv9gLs/LVNDEAv4CFHjK2imPe/7ORkPt3CD/A7rhI+W1pTmPyb6B9we0iiYG5RBeNE3VBbGW1yGe0HL7ptLpmT1KAjmFWHpARLxslxmPG0YH8GjpQowJlJss8MZf7uAD6U5lg1I+65RdD32Cl7OseIeqhNqNKcwTDiPDah6/4IQ0MeSVVejTywJDBkR01kWMmWuq59+jrj8nbIBqNKUJeKvJT3d5zjoVf+WqoFMfCwIBJIXE2AXt1NKfAdKOe+Sc4dN+S/RME+T+Sxgf66xWL8Zq+ZxrlgKvxNFAJ1lo6QDa9MVnnuoNU7+Pdrk/ANW/SgGuXNaH0QYGhWM5l2aGlmFoqY+00lGvxTx6I8p4OTocooPTQB+1fVl4sdEYTsbYe+V43RB7I/FLN1+iT6u+77N9zBUOr+AohNIibuKhoBNa2VGbBC+hPrInsPdvBqYUaVusikhxLKSrSMwra4p4ZC4MpvqTmjkiYqJ6yHW0eyJQmTdfkmZiYjwU1m0DY8cZwV27/831/dK6ZsgWhNroYPrXqnFdNp0qzpHMBs9ccPQvWio2XyRGLGxtF1ewiaWTjuH2dqyqMGAzaJnpZ+Ebe0iVKYVf5zrcy3yuOAlEMTdTRAiN9VsqpshxmMKTcyfTiJCVUVo2+iBEoRcEdB/+ygXA6oVzMS+P9DLUj5XXbrRmVb0gDaYJOXOjuzR7E5Kd0Hl26FuLjermfK9Kwapm2hJYHvgnU6wwxeSscj86/S2qqpkxWPXB6h03SFnOusjVYyhx0yFVXRnnxH5ry/nNWpySu21qZAbS1MyFnuVCydFN4EJfFazEt//wZN68Gt4vkia1sxcamTPqnHoAkoJR3Wg1ca613jjKQ0R7Nj4uchGaepQIQ3Jz8Ei0Db/FPSkZ6MSZPVwf/fV1ggvY7jDRNMbkXhGFPs62ZeA/zebzwEC0RfR7ZaSZtApZ4OGbQ7I67AzVhZcIVGvQZISJ7chBlmePL7dt0YoDbEB7vtCnwWCulSDg3Yjf0Di1EyChDyC4tQp4FTKpCchSZER0dV/7VTEiPIvQ8J5VtTSYriUFDyBUJspUAiRnwppnX2OMQodUWvfN4XD4QNC+YFXdn75oIiZjx6V/N5bxftZiEhPwSmEm9zwzc5bqTpyoBC59Oypef4j26RChBvKVCc9QeQPGW78SnMxpWt4cEC75x4PnSgZFs37VmBqO4UUejiO7UlmTbxkpz6EbvUQqByyIJiVO2/6wF4yEImU2vnaiQrzxL6FCX66HWZHK87mCddylDoM2klFlGU/po7DHdqyKrV47LxgL05uEhpclpDyHXNs+8IItGjQQXTEjzhrvtZHNSvFzAIZUc/E61RTTMaLl+pfGDLehJ7Ipncy1TJQP9Qv8YQmjlejm9qrPPv6jLJZApaNzrO9CfQCitvlS8qRb0Fv4ITl+TazIyILSb5wCvpb7CfQ3DUYRVdNk+hZ3uZ1pHfSS1cg3nx1TaHtypKf7eX0brHw+V9t6S9ktR4u4qvm1/O9jBvxplzLP6+ufH+L5e6Xzxzd5H3UAYjkau8tbG53VOPgvFbWGcq0Nt66zPtp3J50DYVt+cGmSkugLY7qdnZOQ/rt4ZL9Vo4euSpwrQPMiJmsmJ4O3LhJtU/B/bP6hKfIOpo+AQwMQC7T32g75Hnf40OFheaHuDB5ZzFSvU8QlA+u4hlILbgjyZJxBIEZctPgr9qXHn1pLBl9XNzshe/TE9U6aj6vvLyrrInHJJ3b0rSwS/gtMtOEJPQy+cxpD3dcPwwnxKPrY6eLXmDiUU5icsOeghzKYnw52XQxYst3YvlNAuGUptGByU8owO/SD5P2zc6SOO6P5h2gMZPC+eaemsC4LX6TIFZM2rkmfxAMQmiIhaukLILWHiuaUol8poTR0W2FeNPEA9lgIcyFaU9/ksZnruFWjz4DyvtS2izhgqviBySl3N1Fa3OYd+I5nrZ4IutxDfGLnUmnzswBBapsUp0dwWtcyri7VOBxKsa1EZwKCnj6lhxCahpC2IpFtvgOiTHkgXGG3AAFGQSbOJINyr+VkpLq4hdRrnMDOYO66pBickbg2sRTCTMaJZz7EGNqhktWXLjIW8bKrOvVyup8XlXko+lo+CXgLl/qr+jk6fNEi9T/jC4xkRgw0+2xVYbG4+mmBaJjD/YFyyhDqHat7i1+xHspOIJQXpoJmFKofzCsU0HYlbFpWp9JWrX4v308CsKUfRHrywdK4/Pi1N6PCTOmduDwZRM7GzN4hmu+gciHdSf4ngUei92l2JKDMiUAiOmRnFK7ZZXB1Vxc8ov2F+G+5+BGnvMCwsyQJX0YCOOiFlRLMjz1Yt/8n+qJLclfSGE2mn6aXXM8NdEJkwc/ljBoJv4sT3jggxxgLtXzwSyRqgOAxCYai3FBYbRm6VbgvstDkaWiMm7U2G17dyMH4nIqoqr38+3YsdfSFhrojJG6CZPIu6bfnjZnpmFs/IUsIQ1XHvzIqA+oKEfC8MOoL0xHbQA4ZRvRC9YWVb6fnOiD5fUyAz5NoZeudIZHhR63SHFp4D+UTOMvREnbnGX0FWWBVTKluaKBJWvhJYWsAQ/HkQmdvxpNoRJjMlmYcLt3CRFwXUY8IWHOmgnin6k3DE+7zIem5ALvCRs/mRT+EIDK/BC2fjwLEWkIGKM/380k7AlkIn52N+ZcNY3DDRbNualpx7SW6NPg2GZRU8DDq8zYTjNgMJEvQ5F+ahGpkBL/HK+5R9iXanARsry9LDqfDEKzf1JWjp0X+cOnkWvJZnygsyeElfppTFHZqS8CtEID15kgpSsdq2dLOAfkr4okdlk6vwcVgw8FuHTStNFYTk8yeJqI1bd4NkWI5SUVW7qHcS2R3/zxce8gPBUn/XMRR7T/q7xmqcxyQqsfGTIMLpYlFXCrQbHSHXn7SH0ORdnQwd2bY6pMukBAfE5Xhcf/yhPo4RgMWC+soniskg5BoBKLs8r4TG1+iPMFL8A9vecLfmSqhBs/FyJ3ZygzmgcuTzxUpzmjBC4gTbNuSoWUKP6PJ+IPv3Y6xYfgaScggfY1pJRJUJVRk7ZTfEgfc5oMq2JPZhfIvmpvdYQEy6mMOJQ8u9WEnJHRiccnIzsdw8hmRdKk+r5E94CWnXvoRlGC45JKP2i0m/eLOQrvEGA3UpAL4AKez/IMIuCHlGZUOJKJblUJVWAnELZ5nzt11BZqz5yNiRlL9RW776n3HmIoF0t/oeXE+QTvCl6vQ5lwZ9QDXBgvNKYeVG72WvSNKO5S+yEf6/odEv53hSbaUUR8k/+3221jmXnvrurVCqMm5ZtMGY/rwB5lEQlvbFD/3qSdStKmlN3AyK3WEXtM9fuBM3Nl1/ddpBntagaXC4cWqHuximPvARiORSZ7cgvykAQImjyHElCxny7c+IcDWhhAF3cLzCDx5fhgU1E92m1qAY3cKXNsFV5LfkkFmDNy8CY1BdsCGlLOVfCNmPuy40qlDwpYPEvTwHnT+ZLD8b0cmrW6vWlDBb3w7C261KETVixeU+WtBeHh+oqDFklHCjZdQfOGhJ3/Qk6ZYWExw6U48aQ+ToZr2s0Z3p+lxOgvsqyEQxL2+cjaHrtxdaGHDFsvUuoL/kweA/fV/mbdsb7BRX9rTZ4kJvzYDhe3QVoXuzcKPXpAbDMtq9qMlgnOCAX7SWRAmuVaFjbPZiygHjhmyxq1FRVB7TqRZ5nHDcvW3LAxgVFluonC5bDvh8Uug1BgzPiA/C0kse7V/kmXZs2+ZGZV8VGY20Dqz0r1iFOyBhgQ682qA2jriWNaYy7RztQtA+Vx3Ymkik1u4s/BzCFZJ6siWKwJ0yVkXDkmUBOehegc7M7OvNloSgUqSwBviGRgrNkdVQKKSAP9THbqQXXcwuMIVzUxibNhI8TZvqYD4ApLDq5jM0X0JyXgsomUexKXzGhHWm6pHELojSjq41OmtYKrdRAgMXVkkNiXg7NMdBGqmhdmBwDUXSh0FA0NDsCQWgz0Um1NTednkrTEp7XHoONC69/tBFu6bbU6AkjidZIAsd9YlE34HQyxVZgh0e9RC4/YUQAsoLVLlY277W423xF5sPREvcVvSbG0uWq9qhBP3ceTLN3KHDLeo7roGqNtVqR8nOwNIRujggyjUjURx7iSh8C3730bvTxi0bHZUnZ1fwzd2GeXsyJKvWLblaEYZ66sLDArWcY5TSATSJz2aCB3S0Iee66DkRdpVJAqP2zHF/Kj5tQY5doUnkJK+Tm088pJHgILdP9VSUqDsS7bQQSGdwoXE6rrCNhiuYDH630yzhHtSbSa28mr7BJmhPmg2lTVNf1xGy1OL01X5zo1CsVyvlQfE6mGBYpQzDklQFo49AoaaELe8tlFGPrjI+8HMszgK+c09UhngksSsREdEECyBACzLzZW3HI3RGk5BB/6GS/uyq+IzR7W6ZxWivVhDGfqnS1khaEYlGrfBPnF251ZbCtXKHmyQ3mRoZb8WrUTekrYv7eDsInx6HV+o3em8PCSKiJHJpXYy2pqz98RF4aJxLklTPYXg55Ej3zI3v/L+dPeNCyE45lwv2IUKmuPKCjW7dIr+yruD57ikMBjd2s7mNT6p8O0GQDZotqgc/s862zCM1jyIXjR8zQzktNVJtrPWQotHA8Mp1/ii3DzukQdWg2I9nzRCPSVMQA/gmXKgAxZpVO2EzSiXhocyi+F4nJ/z1yawUADnUqhE8n8WsXQ4hv/jzQKsuXkng2O9uZCS4Wr69XY+Qos4ZS9zVsy99IrROHJKkFu3Jo9ze6K1m/OuxW7nNf4+LKp1fhCBGfraMwOeZqqi1Qwlcd+aae73n7JC4on75mkN9ynHPXIdD1bN6j+kNn0CwmWjDLcrwcA4ALAPnx+vqhdCrD0/yz07Bq86Kzjs6I6r5KfwkmrheK/07AcXKcrsEY+UJaIzfvg7Yi2d6WuA9WCBldaUPgRzMJLPUL0v8RJi3EKwcC9qBrE+V5re/qd0H3qElXaDk60UmLEMtPLbPbPm8s1Mxf+GbApkJu7gssd7gETcZATuRpfZxhaZxT55vi6GCv9kgqawt3DrmKlgu/aNejWpVaYlJog5gC49/nroqf+yhv6EJJshcFXR26RVXTIuv2ixFrVD3l5fLGCzaaMBFxeSeRgPJXXBD0A+ej4c/fv9I3ERHlyKzOy1G15DmrMr4z4MopDYybPu72kJ1W93eKAqRoQcxTZFihAFqaYvE2Xv6NmBa8Kr5GdgjoNVKaWlWkhBtynr5a+8hD7k+xCs6FWqmZaQL/P6ckoKEKCBsMcqEMpMszspd8ke+QAK+CUwFT9MuYnrjdvDxqr+JsQsF4B4Ij3q9APotknx04+1Xg1Su8co76DhpcRUHc3NhxAv6EXgVLB1S1LxH0uSiTdb27kIT2LoSaIG0zitZA0rz9Kpye695eeY4jS7K8JxAd4eGerrkT15beVMU8xlEDMU0Bv23tCoirF+01cc9EJWvU1rizBpH4YKWZhgsc5S9CotAC3+CDpM2Ut5JugXxU01WY57aZBy3JVEP8qEbelrypLlIM/kWamyxoeCjCpdmf233SNu1YLBvmCFkpW3hHykk2KTV2u/+JkZRInP1YbErceG9AmWfwWshzLyx76bLL6QD20n3W2yPy/3rSovSmYio5DhkzJleEczDCp+OR6phosC+V5Ca39ucVE/fRT8oRPL9ETHzt3AEcwjSVLyJYk7g7P/A8TQ/8/NGyk66N+IgyeiDXZlZ5XfwiKvKI/9EwKpSOHM5FSk4/59Is5Beho7yFh6L8nf3flM0cI1X5LjYJRIIBeewR9n9yf8S3ut119PYK/kRSqzn0u7N4GKziGYw9TlB8bqSM0ThSGDpM77iE2s49+dCTC1VtKG3JNdG4JGxVL4hqNgqirwVnU2mdSx5/384H78P4z71MPlaowIXjDHmrSJfFRr1ySGsi9oxH1vV75c7XTwt49JLh3yLs8zjE/A89IEx+JtIh4koLNmia6Qnau7e5pvoU8YjrApIY34hH+l8ida1DYA1icL2IPFBYjk+xtw/hPRHit5BWUlQnd3yTyqm5rHCsmHYVeXd9fwL4sg4ZFRUiTHNBc/BTk4HtnxrlZKldSqJPKW0KG+ABNAUHoHngcs5keUrh/5/w9ykgeMcPUv+oDUf91EKS4HoKNZ/5lMCRUHFMTRQRLpQHfS026FCm5oMnk5dUruKlZ9ipdwqoOZSWGJ6eNFOGCNJngBfDFF2u3B5nkbrddW+ie5aahecEGK40nqXczLMqNnuXltf65ffcAQ518PQ2e+rewrEiPiB4Pl4eO0ZmjLm/EkDmKUQTSYOGRvK+/nBfffLG6ui7MPPT+4SwShYx9Oz7DxFLZmHOseED+JAW9af2aga+IVA7sx3ZJ7E2tgNsU3VgElqHBDPZt5dFVyghT9HSXDLWKvlKCXeIF6P3KHH6nKsqaXe5iKe46T33Ib9McF3IxOciEDkUHtMTM++5p+MBoPzulzJGxZzaZYYJXPt1eZgWy5zKhfagFevySQMWLEkpddzDdSA/pa1VTT0377aQNx7s3mSOG96eG8JPzoX7sJ5pXprKyS8HDe1z5JvCebzR7r1Qkx8X5uFHYCq1tsXg9/8XB/VNGBsG0js1yVtQQ0jMQDv52lLYbSd9Wq+PcWKjYWjvC785s/zXzalAG5kR7Orutu/WyjYHLBPJwD4r/zAhnMzfL4U3esreb07Y6hHK40Ho082L2PT/K168Ky4Hh4ZgY+zmnuvgCTzGuZB6+4zOVAiu1IGIVqbTbxXHfm011AmbGsOSTJck92pbW6OiRKq3ZItW7+PyDQKa4XSJzksqRX2sGX1xB1D3uiYvSHQr15oc/oS+P81glvBtnG7SLGNnGNqmYME8+XSg6SGHLoKdEPWpmwwVCMe/ln94LnO8ys6mjXo41Gnt42MfJDtths/NAEhkmBuXQmiY0xFqJHURpTw6JARokS43Wlv4nIhSViuLaDDI8XJpSM5fs47BjTMqtwL1Eud0ReBNTsVckOQVRK2Fjv80bNhyyjhtA23ABi82MNIoIP1hQZzEj0FuEr8vU1U8XTua4/vUqgr7W6fcJnh7EX2BgMPpWIySRL4r8Mss9nze1N5wj4ufMGFyg3tJZ/6/ZuVFnoOdVvnaqPOCRryCE5lusaK8dRUUnLEBhek00efsTTRgfCF81kSG8Tenpz8MN3KSAI8yHPcW+kyHffmrBXOVjFndv7Tb6F4GURBsepykx8tq/b4WEr4iLmepb4XORHNa0ZPUHT6PocMQXGqLHqRzZ4tV7SzMp/ZmOhYZaEh/VMMF6QqN9pvmWyj/UQgIoCepl0siXFhhLxrauPcmQjm3GgeLMQQZmJHjCXwty1edHRqkxgCEcmlcYNQxiJPGxTLufYwhg32ykuBAEvE/58/eVbmAzsyfjD50VMLuaBpiC0yBds2L7ICg+BMofh+HYvAJXRDzqSuryd7S7igw2f/kBAb0hbKYnquasCxG0mwkRtCql/Btij7OL1/6y9mJunWED8CufTTi+wiNx9QmRaho+YNVw1UJPhVHGYNBrSQ56K650kIaBvuxQmu9wxTXTJBynHpQ4UaOrPilD7yM2WhvNYJh0WiOyqRxv3ILPkXISMdzOLB3qPoybQX9nKW2pyeV1SVg4biEzic59aZc7VC+6xk/lemGdCVE/t8A7Cdd2AIXbMahRcqghuIkZKIl5KoqYaa1v/lje42OQL76YPRPy18c7WBTVgH/CHY4/VGUeCRxcYDlv+dAlY1oVUd4YUzoORcUt7ZlRNMn6JVmF5W8ZpGgApB7TLPPWrank4CRBRIRPWydeyZ/8unbg97b5D52l1dYbGJsQyEm+xVIl/wJ9rJPKDXV5aLmEnf3j5SdKencm0ortYZyJqIKDHe33BKR/dDLW/c5FVIUxIQIa+x0jWsoTfErFptztKkphjFvhb6ypTbt78AQ+3mCmjH6Lx7UoXxpY4Cz2mcL2+BQ3+gn57frb1hTfOxiIcC1g0gUXZ+AvNil4RLJbj72OSRqWnpDD44j9dsSqcCC4w+LM8MxyGbTd7vdD1TS5Gqqachem8mhUhOt+HuSYGpA1swOlfgl4YuKDCI3ObqlJ/qms92WuKd7C2yhLY0o8CstetqX7uKf2jJwfGMUfX6pcyp1DKHJAZ88ExM/8omQIx2zE9m1uIb55FVDO9I/kF/hHaJiPBHUfVDxodyjWO5PVAo4i0SeCG4rwIgK1unGhHCpHnkNIneI8mBbE7gVfN3CqcX6u1M+GF1S5qcUNzT1R4snr44XRAD2t2FL0tde7O+zq3IA/IMB2MMyDmtoOM/ewauovSJgyyjZHj8tdKNRiXE992cPoLjJDjImx/zMLh+7/QTC6EcMNePt2vtooyIgQ1JDhP++LWtsZGqjEXkpE8bBIx9BvQjGJAe1zw3y9Cd+PgVrGSihp0qZ7t/kCVM5zn531j5NRJII2CYC/BfyL7Vrr/kJq7aYJWN76FtNb+8uCRA5gVw+PI76Z5Ul8/q9xTTwAvO03wQsrzfzyk1+2PHPNc6/pzgHXKwcl0vSwbQjAHLBjGwyudFZPHQXz2eSjegrHf+SjHKZRtQKA/9aw9vKLP64ENwW2LLbIFTu+A20oe2dDS+7Gf3wP13zCCmMzbJ99u1bVkw9nTjCC02scgNe1xAJ17XhmamDfgY0pPJB8oxP7IiobkKu/D5kfIH+Epvz482AnD7SJ7Ve4OYXcw7ODX0aav6HNLn8Z5VbotceYyDgxDNXuogZuo8e5zav1EKk0v+uPfZHlZpl7rd1+hp9fS3JvtnwWfgpi2Vs+FJMNsTK3qu/eeNsQg9FQPAUwdTqXUTg7RQj39OIZmbxX7qlTizujF8u2xo6x3i42bDrMDcMz+baVax1VutPRtyA5ZGwFxpfRwbJu9Q1d0UbdPn57Fcksrg55RFaDo/3JnogmEA0IIZOL0tJVYfzj6OEwl7CtYSrTplv2CVg1fkhmu9w4tm0jROq/eZl/I0lyhSHqSsduAM0WNCZ3kMNw03ZOa57zfyQ1wpRbLOZnPviLED9j7GagA01vfPwd/qUsvQfd7YIIDRz0BBCigH6Mll2lEaiRAvKjlAdpJZmK1IH+d5idzD0TBdY071K8q3fohEjrglxRsyiXthCSNMN3deZnpKk+mntwsVVILWynOH1IF/VQiwLl0Ja77Mlu/WPlzMA06G2kcnm9lKRapO92tzKdHrfxITTpLtJEbBh82/zSYw2PuH/1XPnmZmTSGdL0nYXq7N9QFx08PA3opWNYemCk5W031nfTZcegN+ADcQO/L9NoMR3Im8bqm3LSomxcO65wgwOISe7IDb4nfPDCk35B+3bm36FgA9gmYmvR1Oz1fEnouN4g42YlwEmraRRD9kX4jsA56demET6nr8HKFSAGRVNRQSdXj6GvqLoIi0DaAC4KWPrenFYLz6oMsv/smlj8gmTNAsksEG1m3Ipu6Yknb1M/iVkVMtJI2Nc55f8bJ+V6Uz3065Vv6Vze0wkKbQkb3TwwJCjcz2A1wLDNm2hH7AFDyDzTEEnv/yb6aXYAEWiwEwEF+9iiFCHg1C25rp1qsSWfi75fTSvBxoWRxyE4lm/m5uhDSiXU30PqwAzhd31Zq/U4rm4DG8cx3IJxfJjxx+TCc2N3kxyQgGCRE/cnO+kl56Sc0TklEj4ZEwfA/oiqvSxE60Mm0hYlM9rXsH7Ru4jdsUw1fWr8K8UYgPxw6TzESaLfh+itdmk1Y2eGCI3HhCq1VIO4ciyrTo465iuyUq/kEKZC9ALm/uyGHcQljOeGSxGU7DzDzqun4BrBglVSNNCTPtv4oQRAq726l0Z6O8E+JE2n0Eu8V+VjPlzpBIbU7SLD/ue4PZEcV5pIP82VWMiYrQMnQtM4E9zBDX+KyDL6+NyEQ40TFaxpWwqKyZweCNShKO5pViJ3MiZoAYcZswX5GPdh8WgpD+aq5PIb85Gi/5RlTV9e+i6IWNOKFRn2apOKXCVjPADphsUkwz5v5kTDIxKcwcUkTnkqaEbrknGEI2nwCbYU9baWTLMSjLVnHBqwmA1mpzHK9KFEvS/cMvM71n1H6bktAfjNbKpN9dUbVPB7lBlaxeQUJtfujKgeOmj9RMbIfNu9d4rE/EavXaVAEDTo11RMwT8QAGGsnaNbmHJ593GJVGbTzy70/Qm1vsRIb1yotOZllTGtsyBPGOZ+py9TN2pg3w5PvxA57mFt9yjRhmaZ+4jRNCE+665kJX0SZsMA+kDh/dqYrlUri+P3z++1dCuGnDVpwAgzNTVCq1Yyts41hWl3TJPQrw6J74tUW0NsAQ/Z8Zar19Nf/RFWqIrSOyjYV0Fmpu6j+65ewqc1WvGPRd0asLOJuv4hDVIgC1Vm7EBgv9sF45Ct1jmuN/0tr3YP+GxY0FOsd3C2sGruXuQIFlONfH4idHjW+yk524Rozw+fejXxOyRs8d+DSuYDCzB4YRcRhkrEjE8XI6XSWpbg/3I/TP46a693E4ytd8A6KQhFksKkSY67K6ixq/toMG1aEGP/tl+O6y2ZDfkRTsouZ2CBg0O80Y0TPVnyQeyHvjJPN++4Z1/luWQT7608A4s7uKSqaUFdReSlsrLCK5qmet/Uy7TferIx2MrLUluAQMtsnfQqBxm/9rYQUTAJwbq6JVcS4R6EU2qAmKghqESSUWcQPyo0tI+qoTmet/j9oFnCdXgnDOW6D/OUYl1rraxJKoDEvkMXjiny9HBeV42I9rx9CBp2wv6KqBPDBUX/a/aP+xhQUHKpwXuCEvZnkJS4xUhUIzFXBgxyiVQgpKJ53BjrWmfVZIkfFKlzwWC29RCA8oJn2+fGK14BSuUBsv1OInCJnfJoXZr0nR2AzNykjmgHQb/7PEMBbEzVCa+Lv9kF3N+Ni6/tl6k7hpEUNISoop728V+afKa0P6PUP7IWyXMM00zOiMK7TpJuk8hD67n2X/F8Db/v1uDfrJnwPDrguJVUl2jv6rvYuMJozxLWQ0fJnpWHUWKAPmpITWE5SkYAf7O8g1rckUg720jt5v1p6dUuK2impff2BOVYpghApOXG6IBpqV7QLdgxC5RVLncRsb9iQfBV6QHAMrcTroElflBupXuKWxloMAuqfJ7gUNOcvvTpDwWczuDTgsszD6c+1ujgdyz+OnMdemSgmWXuuKczkTfUqEgEq7YFRHiSmcjURiunBn4qMQuugOmtWlYG/q7nqWyKsu1GysATwmW2A8PlQ2DF889xFa6Qg++EXfS5E9ArIVxcj3TIODuFt1ItdbNEx6poCdjAWPg22XGS/6/Nena7LXFSOaqKLcnpfZE6bKHlLAZ3bZ1PFlTB9HDzo9TUTXUilCUFmxDncR7x4AC/ZO8Hs1JG7JScwETXvk+HNp5cCDuzg9SdenUVocr0qqTaM9fDEQmNB2HnsMQ4+aQSKZ9hsSnn1EaairxIKbOGkHIuUwOmpuG2bbPS4jIjA7Li7KIjv/TGVEYIdYkUWgVChodfOQn9d05vLt2ZCFVlOn/Bb9MsYewOdt4Pipiv1RvJ35VbV0PzpPdK5mRx2DkB757sLSkCvl63wqyUbiuDnjyf85QheUA21+uhKBIX3/AQAncXqk48MgsLDMdKYj2K3hMG4TUIX9+gqwS6BKqcE29cWpLcRH/PIomuwZi8kLe+xPvWGLCXEgTP3WmVChoxdSVfbhnVFgbfY8/Vn5viKRBwdkMX7SJEBWj3Ec9X2+7x9CUjeF92GSpz3qe+DYqPIZeyMzY45kzCVPWlabzMAJuenrUV4VI1qQvP+8ovBhwyfm1eYbhhMM9BHhxig+DMzqKySkEj/cgKIpWLe4UxH0hOMrt8UUz3RsmPy03fr1+d9l0TBvv8LUzHnglsKjiAE8m0Slr+gngphIxMXU5APUTPDyPfxt3XNWT2AQEL8BxGb7eOt/LTRE6Pz/bJq0q5fX+XewU26tVzjznmpnqy+eV1d8OfLgfgTXPVLORGO7u8b1s6cYTIUqzxkeD3qdUExh8Fj8njbpUHm061WDCTGYBKTaMwzvIz2HLknfNpweVlVLg337L+T7FIMLk6YywXxDI8+J7oud0VMdcVN9Nq8HhAaeuTAaubmQyWySGANg1mQOvo5IFziZ+Y5drseMv3bKk2baqf7kn61U/+wndvkhvPsS6TA7Q5fMtCRCV+JVKMBvdDP4gT7jc3jnOo1/BhlRicDtL9vXfteqCo0/NXHYhj9T0trvugXmLWQK19It7vPg7A95NRQvNjsaFJCsOfG5v4ke0bu0h+EsNQAjJ48Z4JQ63vRi6oYfxb5d6BfAH6BUnSdkFyXGkHUDJ2xArNSbTMhn8MUZa1XOOSm9xqRZGixR+uIhLhe6U6yklfEEHj/Lf1t48udLOQa5D2Uobh/yyMuPiFbUT/1G5/XZa9fprthCDeGl7zJJGzHkyQQhOp1m4nXMFE3K2qBJD3sQ3AdpBieKhUhQLv7A/4cgSXu0szedBXRtGQWFLkBF7oG6q3jyqHQJBQ2+hp2wySOQ8dqcK1OPjKUyaTLibedNru589knm27eQDx73hT1mQNIKW6GENusIvob2mcvUDeN8yZcuqkv7pRAlWaQh7yrqYps+qoNewNBdeQ5irbquAsgf9ZlEX/Qp9FOzN1OrLNffir4638nfwNZmuwWGySuJDJchvvw5WXxYb9ejhWThIXrEztkxoKqhsDmz7FfHu67B6gTSaJv+1y2mCK0sRJ0yHPGGKMQ41PEkdI8rGIhh7VNM/jIyAvo5vS7BabT7TONu/loXHDesCuq2K5AJ0RomOuyU10W/bqBMKQG3csjRgADSgbOJ4OGRKm55/KX6c9zTbLe4DjVhxXollrizIxnitDXmV6jq3+uSoc1S5mAFaE5lZvPmemAeQxALpc09IrnyF92CY8x467Y92GmIMWOnnEQuSNJLoFvb7UrouuROyzyYLaAGFLl0/0ADASnR++00iRVRCDJymp9FBOJOD/VDvJV1i2q/903cMN4FxHwhOW1JDC6dx4gIyVdmjoxAs2qm497uFMxAtIoLbScYoJQ0vem3v/KdohS12pbrTIj90rY8yV5WSy0aBss+rZ47ICatNyuJZ2oV+pezGCO4m/Tm8Bir5k824cLdsp/FV4u3/SHpCPvb95CuS5LupsviaQY0iZCEQOWXq7xJOEWhwN0jmtGM2341qgUSHSXoLmyDrLNFHcJyDFvu6REtKx2uJ7sT0tohWYiQ7UZstidfOx/Chq7R+9Mi41yIlm98HdWfSm8hlB8VSHFQWMU6ZKhqFD29SvzvLkbPZdxCqn8xntzO0OGRu9WLl3HXJaOg8pR24AASRkYuoSAi18xTbcuaLFFMx0TMDNqKjL4slPNBF9cPevQezVqLjNs94tM1zsa93ipKUmT/WTz5DQQ+BuEKeAK6HcYS0BOIruD0qky4S43RRlz1ST0XDYh6q+HZHxyM2Oe7Yt7sJxKL6FIbWcWBzMsFMDyYErCEv1JMId+h25rjRg/O2fI87/EPX9jlolpOh7xo0C1umBXVU2tgZ3kJoo331IQlKOUgzxw85trdft0p2q5YNLOWid4RZQu1eIU554RbGbQtgU7eldws4nvyVm6h/aiUPmMCqaEN5yj7ugTzbfo50j8T5DM0bXPw36DMJZp4iqUMrB7OPmz5jCd/Vgo+O/kIq+dsfB80fqmamxb3vjxKQOgI7vE3dyU0uqLi+6XPX7lhhWgR0lnu7DnjLPJhNgrte1jHSgaR1tbqhQoVj92PxnNEB8OzTevSsouMTLnY7nSlWNFiKflDketQEz/mgVxZZDv1tBXfZS8Csa8wMzFY7W1XBBDZe5Y+ByZ5H8Ec/BECmXE+peWYGLtvQ3igctMz6dNaDOfTLVmm7uxspffjPyGm7mx7x7kngKIIPSkBlgLoemoaXIgkqWseThO0Ds6dCX3yrB1cZA1WdFtMKQabH9sV9Juvx4JqVZaiIYKH37EqWzBTEyuTUOWBxdrs/5JeJukQ1OkIGPl8d8uF1lGE+qMh1Pm3nv0vFQ1Qrti6IFD17Grhp4CM2qNKWu7t3HD/eCIuRJPUy+3Et+vtS6REGRm4nU3MIWpP8Eiagd2FJYAzjU0hbmpOOTuKT9PnMFUEpSbtV+ti5nk3CfPwQyu9v1xs8SDK1lW7NA8Dkb1UEa4lP8owSQYHlexdnrq6gne3hfNDuPmx4tolWh61Ee/dtZ/l1vZEOT4Hn2UAs7letKDaH7d0GJHPuqwgFluws+P39EarPWPEg5E0eGXFxXzDqANq+p3YcLq6O1X2K1ttt7pPw93Dzjte9QnRXk4yX//xGbTWxjeLDMdNjbmTyUSB2Naf+Cfr3TyuvszpHr3Lzkym0y50YSPNpOfnAfgmAUdkKD0OmDBxTd8YoFlZ49W7/IQ7dYiEDPlA9Tl5x0BUDnxGpE+2flEQ81gy3HzoFjLodtThIM8AHXYbyQHfRtTo/pyfQ7Thxy0QJhZk7boBpHI1DEfGlU+eH7YIGdzPW8mGeSGm1EMgr6mtcptSgidCMJ3Ln36cCFbm7IOqDBspmpFHK2UccQwA5vYlUGTWp/ppDVqsIVVyigZN26O2GTuU2/6glJaME7azXj1IcZNeSuQS4ltUopwSPgHcF4uQi788NJy/E3+lfegbT8b29+Wgwwf97shVx9t9C/ansGJynknsCan41IRM6murssWNudWI0fAJJP+jSKWZvt6B2Vjynx4xX/I9v6fM8ZdzaysvR9RtXfAXNSW0MNUPdV02XsPCOe3xlBl9gONnnOFC1IEUD2VavkU2h2IJ6wIbSxizPxsblgX5dJ2AcFDUjptywjhTch3bg8wcKEyumiq4xJQAUhnvw9GDYXmNb8FoIu8dezt95Pau3E9rU6Y8H7zK2quQvLXd8l0LGip8sDtGWetR84GXw+7WI2krk8CiWt0mAXtGHXWO8zBK6GQVOPSsWANJEYf6ZxKarQkaCX8uupuLnwbKR7aDns+LUF+r6jjtmlV0BZH0hbLP+dvKBabIkKp0yiM/JqAFtwGgaJWAylSTVdaw0j7+Y0Vyen3b8IgFleIKANLLHcb0y3GTbuHBmUWjg9TTVRCuH4mRQZgZfjyeiOfHyHlYVA8cYBFRYL0bqVMEnRffKHYy9FpaX5sGJEk8uJ8D15sOiyjp4laFhHZfSKNQ6mo9lcGzYzkaQbdlbWKE9VoUY2RNeVOMwOQ14kgTrzKTmu9eg8jXO52++ucMae+XEnz2sNJwOwzdyfh45rdqMaR7z0f5MDAKKV/UzwhwHFzsureJri/1I6Wgsk0GXS3aV8J8FxPMtxtHxDD3ga0wtzZgMB+zelSUBAJC39Ya97YRS/UFSid8kvA2YfdRgrTIOx5P2GZ88StnEkNeDm20b1+toyRRV2jWLrMx8rMxIBvGj6jGseD/Iy8nfkWmemC3NaE1IkTOP21MeKcttZNUvQlb2lXkDdZ9IoASCYwRn6QtV+H9+NjHAuTT/1jtoALlG6jHboY9ngqArX0lc4SkLRp+pXPrLsJlLeQgDKcHa4vneytIYWK6F2EgaRuJKtdvyN/lAb46VsDEK+b1JkpdFYAMG1PXy6QJ+WJrCbgksqJn2CT6HxdW8zKYvwUC8E5UfKytkoCOHNCcbEvA2urWNbemYSS5tzZXHYt+VjmMgJVVRAxi4e9tv+/b0UzYQPvoFjb6jetpj8Q23TtkwNMqDj9b23rddhqF7GbT3zweBziffypnfoaZvZAUglpVeWHcgHdErnEpz2ARIG9ZDR1x1NbFmOCK8gqKJbrI3IJpz24ayyf8Z8Os3bhSjOFdPV4NgVpL27I0uALPslTX10VTILTsI/N0dzlkfLlHybY6CMBYfF3uGTdmOLOQqXIDPpsdWrWlXQj/SZ5rnseaIdrR9BXHJ6Qw1CnalWB2vgO5ZXc+Z0gpzKTvHOquOzVizwMPI8egkZ8UkNUUjQ+o/i8SKudbq7ucsjIoRDpgmENtXRyMHO9WgfxjWPYc8kZTE5uAo7rOXIEMsyxL2DnnEVvLUN1aUHmdVVrrCu+UXfx3XmuOypq2HeVSM55z/aEq6c2hMrLXdHxOIKOWzOJzpDtUrfBiJLcRuT1krUQxoDfTcbpVseqIEWy5aowWlR1KPU5k91g4LZGWLZfLARYv2nK7ADbH3iqw3b30enE3aUWxgM1He5kLZ8QsKk/+FLOkQQQoE6rAvF9iPiqapt2Ke9cL3YIr7Wb31Rr4E5fTbRbI3NzIAlX9HG+5z0xIH6L4lbfCry29EBJ6FAcZmKN5jK/5yniFZehC1EcSLp7H68NX39L/QBdD6hcPdJ9fgaEtXhvYVHQqcjAAXXVblEx3oHCNV+gBZjO+m4tD81Uz/g/IgAtUq6+GFwgml9spvsQ7+ftuMnvOZJntTFBP/11sN16KcpN8PR9H+I9qZGLAyRthit/bKkt8kFGeOfuxV2XhL18MmzkVgKYJfEjpA34BRI/rx999lZxNtIXxSnif8Bp9wnQUDALDeQlt5nm1bEPQAjcQZcRSyqP+pfZI9EcrKSXGpyMMdJLITF1xCfoVnlYx5uDETqG9klDTuJcnq8KG5wvNvV6S8+tk40DAR3budvqQ3j3rXx9NJf7r6E6ZyfwQW+cEWw1wHq9vKiFvmH4nIAFL7WNR/CQoDK6MYHvUkc4UCGNC31PeRCrI1jVlJ7J2PuS5h2DBbHpW646lT+jaEWpRJ1hQmkSRYcZ9hmEPx/PSF7YlpghLQjv/GXVOeNgEMOvWZjS8Np3Qnx70xCQSLU/lLR+92EoJQIOdqnhRTpQHUvwXKtT4ReJmLRT5MzfRGHBzS40dYgu5AvQ3h8/Z8KqifbD+O1wuRRf6ao1rTG64OC9b6/Jwng7Ri5ZluibGxD4jNEA8ZY+EyEphEEl9Xw1oYBKmFwMpe05pe8MA/2pJu9B2Ne9elU2clPMbOfB21thWgHJOizwvAbD57GCEcyQ9md0K8941qGdUMa3vRkYJUmoqOGCNa3ETTXY0jsZUmI1ScinqlYLzXbDEnJV6SoqLFMtjKPn9L8+N5HWT9jITguly1QUqha0HNFidgzZyqxo4VpFeDnEm3u5PXt3/q42VAYYhVvJRam9Lbag/iCBIcPEb3np7SI/LLh+pfXjkePMDWip39IyNEw6GHnB5a1S72QXMN6kXsn4La+FbKfOURP+o0wr73JakFAJaa9MTJzETuzpp2h0ekr1nP2Z0LPiuqNtgfyySJASshMDC0/V9MPI+52PKlXuGSnir15muWpaUp+QXfBHkefNhGTw3eShs3/3rb1uMjXw4tvgd0V9Mih7HVJ/HLJK9gdtpsJpKa05eDZAcUAhT2z4fq/eYIXWkQUT+sqmRzFKPK2guDmUyIOsaoSeWRN6PiF9qT8bqdF04uaz8H6Hilib3TiZb0qhYXsbZZkmH1HUha+qwAh+eaX0eCcqHSVe/7KUVjTHRAWn84Z/D08c9KALL7lVf2B4TaDeBGHJ1uihHnrFzOXjIXQYz03fHvdzOoRjrF1sP02L6Jg7Zacq/iPfhJI+mlS5/Aptcga29oe7HDAYolT3FXeWUaudMckGqwO/M3pM9qQkHPD1nfWaQy6dFnWO7u48vCAyt9vHQOSn4e6Ns08pbNmqLbBLT0ANYNstwO4eK/IcbbwdhRWH718J8RVj4vbdmX7FEdoxoJjwXF2/XbV9IgLyxTxzg7gSb24pgv8zUKuhrwky5du5uMa12rFfP47tY7evW8P9wnkeYb/PGjcKiEDanc49XMaPzXrSkOtN2D9yXXnzQ8F+nWmggpJqqpE2mykEinRt8AQP0rt1XfCpjerfewLiCZ8zAeGpqEX1xe2RY+a9OgcdPmawYN6n5u6huO+sBCnYvhqBHrmvYLuWGW8xN0DvJQfU5j0z47t4WCzKB3+FiMWcQsYv5PAepXsqvzRDZ/oCTWQGaQuyfMCBgZJ2HobZsE/ALh+XXlhS8Um6dEqvE2s0dMXOzTmOcumvSYAqNY2TPKZJUs5a4zYo91u6nItsmb12pU5Iv4cq4BaAc0D6Dbeskx9UzEyUBJ9ruONZAFPYr1QarzBJVnm40hYullKgYPvC1/nSZwX0MhyfBoQG+4WpduokitwTKyVIRJUGLmvR4Ivz2pvr1Al6G4Re8MN7PsIMKH8d5osjKYws66Ur3tZvfg8lOlObXbaTTA6KSHA4HOlgJDq986wuA9+MWDhHn1aNqtA975H607hpXYPwrKYeMA+hCCWPs1OEqBpt3ABSq+dMSZAv5DFlECaQrWTTxAbNDqXdvOLQE9cYM7VQX3VLbGAY6VWa+4YpsOS+3bl35gb8ZY4jeNhx0E2w89ON462G94D0zkS6Hg+GVKMMmOkRg0icKUoUPlEL9Jgy20DBqw4HA38/biISSR2DVgr1ItxDN1PXGQYNe7ugkfYVaOdfnYiMdFvBP0cFVKnpfPnupeTdnacrBT0sVh8GitIeGKZcg+wc6W1ZwrNhaZHf/s+Kpm8FtA88KGSKWT/MrqhxBqXDfbRQ8PDzhoqqMv9kW7pHC6qrcAqoml/A05uVChPqIocNMxumSVZOlsbmLL6XnypFkK3JCuIwfvVqWm+byI6Y6XIARf1L5I6ik+PJqL2gsUwxIxJY788mTVvwOS0vhqTo4dAE5LMnWvObJ8s55IXU0J+D0KzzcS8TszkXB2dMkyZ8uHR6twqgbEyD/HwFRn/4bSw7XyZpsQLeAO9HgSr1qbPkOoVDC4S/Li0bZxcKmgK8aZzL4IUjn9cAmLK2pRI1ezewnCr6/xNKoa+ag2Jm0YE4yNo5BV0R6v5S6IYO765aM+/VoVd5d+J6a+0Kceb0WZDA+w8hel8tDwt8dv0uRjWyrYJUxJUxyaC8EiJeTHc5r8nu0GXoWbZjP2y1BobLZei6VDIpbAEKyCX85yXfWYST9OJnE448pMkxovg+X9VcHW5xEjkT/Ysd5Pcxu6+N78WPub/5XAoOuVyPlENZRDfCbMOQcujjJnU3QO+ceoZu+yfPz5rOTlZBgDUUD4JXGbLD82RAXdt8vLEwIH/jKU6mgPF8JZgQBDliZDBeAisaziWDFpNcnALcUAEhS+KoCYyzuyvbKHmh1sr+ZRrfRrNVdRpDyw0iT8gpFbfp7eKAI6/ZxJ12BX91Ky1sZuYcfLdIqSKGhIG6rUjetB714z/KTULBzwA4ZJIW/gTVP9EV56J0dOldLKvnvQLYiFoE1a9DtOCk5sHLQM4R9uTPa6aJyM5cYTBv/zHcC7Y0N//K8qO0HoZ94JPaj3CivhKmneFzI+/PvQc/f0q03CzHuPihzxNLczar3yDAKJbnePJDsWHniUfR5SXoGijJ/ebOs7nXBrbCoQ/Y4MBf7Fx2qOslkFQ2M4mi7lgsS/tHROj6TF3WNNzfCM7NF1Fq05pkX9o6WWVVzDkp2KOKZY8YzOer/3Xg681tLDJjNKbXkBvqz+TZdOgF0ZakvfRoNCjTB3MjqYqzO9GCVOZD7GP6Gg7R8SMsZGt5xYcoDCd1d8PGnymEQl4y0nAiJ18Wab9eSqbYZ5fjbsIaUXxwxXG5KIlGT2OiG8nf9KdBqNRuuBCEdo7MSu3Rodl+xOl8gtW3PfyoU5yv+A1iPI5dmFAyBY3oWlbjtJ9cnNqR30k6hh2hEirw4h162c32LwC9dTZLJ1i2PU/4Y7l4XR60Wj5oR4SUYqoj84TrZ32N1GUkv02jpcSW61WvDUB/OSikH9ynQnzTzvDbyKmTwMK1jlcyOTfqV2qH9nF5yyCXqMrjv+kaIVbr1fSfEZAJye/AyxRqnF2nuRESK0jl2JWtNmdW6zfHMQC6Z+SF8oIqqSLA4js3BxHvEwJdrHUBwSzSv/5RE7KPoZWbnhwdkFgCGmESpIW6ee/qA1soCqwtVUHqXsqVBBVqHoouhBkwI9GtMugaL75rp0hYn4Ip1wz0xNt4EvXdy4xwvADzEUyV1WIDW36khQESjLpKzLst+t6AE17q4PRsYrB9mVJJ30fBD1X14LUc6YM/ksqveOpmRsiqfLHEKzssPuKMdg3aTYmVCLFfYFr6aDrzi2zVlERtTJM4DP0DlDFA3G5rpHLL/CAYsLUHMQpCU/a1jDv6RRL5cqC/LCkZFNZ25j9q1Q+QAUuFDDnXpuYbQZPCxAXTdTpN+OrQwMJhRWRL/ftU9KdRkQor8C/KXory00uw/g6TaHG9zkc5uI79zU9mIYE2Jb9HNzUwHn/P7emX44B1N9TFD2cNETs+DYgfySxGgo6KatrVxl1PK5lpS2XQu6IOu38/GSWis5IPffkWimTHI1o6ET4+OOHKPXdxNmsANV+lV8RMlIOYzJp+KHPu8tU3/k/7iLB+9zXWbd+jgzdNXnPp33Us4oRL0/cPCW2L+SrJ92wVnQTivoI8hIWjW/F4tD9PmrgMiKQWjHcWjfIGNo2Ul3P7S3EngF/VP9u7T1AU8uNaEy3uZ67KqLWla2wPY1RbwbJ3Ics2qgcorl1pfP2mAKQ/Su+n5OGyBLmcIjQNFolW1jP7u7jqxhvSZ54z6a+xI05Znne81N41ygA+BU+pPC0h6JkmS9cFFiltTCE1AgFJE7dAIFzmISo4UGFGdjDkF1aIq0lso98tLeHhwq151AR2nzYXqUeXSwMtfqWUXhCIbqqYNnSfiJs5VhDZ24Zx2Bf5+rJrDvz5tfmi3nVWek9gin1uRRbQfKUl6oWDuCUMSOlurxbaURVfPeJ4Ck2LePRGOq8SWYFVQwWHDjHG2zuXy3txobf5UQEKKdmlZ5Uu2eM6a6h0Fmh9oGpctALwrbAHFKNdmJwGAr7fz2cLim2t4u6suWRKAYwL+Hv29fR46YYkKtyUIZxgkkvZe7dRWN8OncPKJ3+WOfOnk5vjkS9n38uDuntAU/3AWttI+O+M8a1+7G4IQyPuUnoMVuJdbvPvIuRCjcKJbpK0Qf1Xlt77VK8PUZW27FyAZ/swP8n7YTma9SEuArp6ARD3gNO9FxCYtFbQCQcbxFSDpI0vKWtlBhJ6kqudnuR8Tqc7S8hIH66vCOINXfQ5wfEdNoI5ng1FamhBhN8Q5JczqLrv2env91HB7DNrHbNdcdwgd/lEwcb5WhFdXxg9G/hJqg0upGpffvjy8VIndKXnTf4tatwMgRLtiLEt7dQaLlOCy7avyXM9tDUYKxQRwZRsiOpqFfoSFHW7lzN2BpVVnr2GV8b/aVocpR0kLpUy5BgkhL5PRretN9LLnbtyQn2o0c0trgeqURyhOmvHpKaMTlN8fECLOteiixs/fbkEwFzEgMUQ0MynECJKruG2GM5ll0ug5/i8gjaIG6ajcy4kHkmUmLCcWTgcOUyo8nrQ4sV3CJXAqiHm7KZ/m+q9OVtJkrpSd/rmm29owRXctjts7UeYENvy4COqgvKh3KIoCWcBqsbrBNMfNiX8yvnApu1Qt0wzabmgM0ybGFAhb8tHqqLwpRG+62Ls9JgqtCaKDfAteuJsl474nZ+AXnpCTVKtLNEAzQJUnVFT8EyxMmBs48lijjFRWqGuMIKgnW1IBxuSd1kwn6k65UJF3nUX1xUvP6p9g5wPyIOCLrJgnKWBhL5uHI8gZk5hmqw7CsEM6tv/AdDnLnbKK12Nisume7rfyCSf5K9Yj6FJ4obfxqMWCTaZFvKCfgAPdPxYbzqy6U6n4yuDd9pKAaFpT547BkkryHDI1P+7eygOujqH5X5dFmZcyn0SKNFOyTYTgC3qJnlwedVpaAxQA3UdAcLIfAtqSt6xmyt4uNvfHLmNQ0KzCkuBJb3P25IGZoX9GOZDLXOMaBw2ZsGpU86Fsv7sxnrN8oNVWhfg5vfcoSFkmGYDYcfnzFrq/iKUwfld7/yRE+ssCQo9ol8I4HgrZ0Kw92ixxZ7E/0DYQ6iZiqCVPc4F4S7AkHrW6O+UKBt/HAltISysQx45nRtSfMm+RP9x31/GRc6XKpY+w5quDb9OpvqOeJa36hH23pfOApXu7A20gFb5vuS+HjK62ZPyKC6fhweP2M4s8C2Dqg9s8h7JxBT+IhJZHJ9ZUmU9VPOyGABOBTIAntdzbKOWeIyPGMRVdfZCmb7b/wg/fAKWyIwjaxvCw4JSE1XSrxqoraKtIpqZOhSTSUah7JCW6RIV+Z515kwyIHnU6bxNLrIGf8zXhTWIIcxdbgx4Rx2qTaAjy5warIzO9f0VfR0EysykVmEW2h1s5D0/7XDCo1CmL27+V8EDstu335E6ma759GaGywU7E2b+qcuuGLwRtnc6tOiq06bVI9piLI1bg16m0UolEVqfw/rIfz9RCwvAWBs2mQ51MZBWkTrQFQRLrJL1d8xqi5J+HDhyfEXvmA1BMchpYgVHQ5Mj/nwxac9MD0YSTV9E4KsGwpIodPvBk8pAPotkMp4M4JcFI5TQnCIUOhnz3mk1TUcwIPVdk9mDOJyfmFnhdxZrlNeuScXLCeajzsbQBEqGIgnp7oVB1ZTlq76EcJV7og6z+82PA6NHz7SQug27ebXvrKmyTMrmQMttIUJYlBOzvCyF6NIdsSLQ9nlykNAnyRmsfX6igbP4UaX97BMINNYsUfUEEqm3Tk4eXFq9hsv5rm366MAtkDkBD07BQ8zUkSYjB0pMoPISZXP/jaFJiSezT9dPM583HsV9ufd8y3n/MAuDded4MBR9NHy0NFcAH/c6jzBvaFozRc+1dPGtNV7h1NxV9wwYD4kEBRZFdoJKy58oQYVbESWHnJA73POw9YGTieYYpDJXlXdhm5CNU8tAycaKF6n3UEyLxxZeL9z8Q5nDTXp9iDHLFEnBOggzkitSfC5cDS+GpZAjeKQ/mmezKGmaAJqbGkgSP4KNp+isl0PJZMoX8fQaCW6oG23NcBt5KYBxrkrdtXIad+xA1z30lWXWLlvadgLHAjnh2BcVxJxXLErdV3bU3E1xofl+6qG+HlZZPkUrOhSsvw8sSC8dSVDlFefNOguGQw/X1FyyJmRfMqLU7D8EQyE3Vn0kqiMhe8VNgRDSBA76OvjCSKMeh8BVkoY4vAMg4CUCIv72NahjfF6WpZu1XU4YneMS69QPB5gTql6jMI7oYJMcmQYGxs74RAyTXyI4nPQamZEgRPIiB9cF5rKIjKpjoSwZKqMsXc0B704RpyacdY++xu8W2N+fCh2hbr330sIL9wJNDeJQNd46iaUo9DJOxgxXNQYBl3IUYABBalcIUrKgEspMpSrAT3am12MSyNxu/0u4+p8pGqN4jVLtSG9Ks4ndA89R2Sczxt0vy0oLf9sLqnjZzNvtJlXb3VrlxDanLYZ/bYciLq3+VjBgIu+LP+FIhj+yjzLVrzzwjF5tRr+CXf7FFdyucIjtq8s1Ve42ZHYxNTgG55z3ChOShI/AlMcIBq++CluJeXrHVr/YLYFzXQsa0VUhgfUH/xy2aC12gdYUJrg/wmwGV6Ctt3yjQmxQmBazn70HLZJwqlRap1BpQfZFXvA84ruCDKtx3b2O0zwizhjb/wiXrNdNzBloqHYvYkV37JJZtNV8/VMdWAqKyUKtXSFtl12BeHjKvF7oTn8MaGI7g+GUvhUgdyn2xwZd13xcfrKTgJdkRP2xyhWcxKl64FupQ18fyvom7BTpp86GkeFRjwHayiJzyB1MIRgkeNcon+rORgKjIv0X1HG0qJ015LZUemtfpIk8bRYh4jpFcRcD8Yn9LrYG4+GOjOQMx6PhsteecUrePgFHHotanJBPtosp1bAZIWmeshspE5XFoiBpEwWPCkQz923kJTHh8A2XLf+Or6HLi6o+x2+yLgSGg2lO5KTt2C4fSjKar0TSaePqNDG6acuJqgRSe9BAMiqhEqi+3sENMCm6CxKiRboRqv/rwVo72/zlJYbSHXfhhp7LP6G7CfnT6YDsSNF8bAftWmxhKD6GohEXNpvM895PJYww5DtJhsDfj4UYbrIL4vdCurczbx/sukRaSKyBDjMmrvwqDVmg1c7VsBoToCgw1BilC9RGVzo1Ay0jKJZlOqToWJtLIHRBuiTSGZcei91AHtYc+r5JrobEubmxb6gPJuRf9TSxqCwohQ/h+ugH+rZZivCfthH870J/API1etT6Ikv2loifsE30kqLNu2opwd2cPPmnvFPrPuvvCiJAZC6S+R0hQNx0YXae9zBQk/nFVDTK5KCu5yu5LNrxmZg5OVxLniapopqKz/ekFMtf7N6LNUlqXj/qXUxf82fU6/gBSZNYq36exfqGKy3ANOJbMbNGLWbEpVy/MRyWHdsnQoO6TFDCOpeYGtbdXnL9dFbwJWtFGCsTL/ZT62rBIMRH9bLK2n7ZHbZ9jOUTHSwJA4vN51VuO24h1a4uPhlLaeewSfWL/21QEzXifhRyA+KtLRKiCiCw1/OrnjSqAznkvlOHolnZiXUuBke2e8CqXlywzyB3DwI4Jc0Nuv/qZn/iWrrT/urtvNIBO0RnnRWrKQPG0VjeyuKthR/oXWAwIN6GQDeM5d4MVvjoJCuOB8lOn3f6sv8BVjDmagTCxakLuqNoLl1d6xrhyLXSx4v8DDvkASDQ49AFlexxY+6nHuASvPiqfw2JU64R77C2a+kuyfHcgw3QhYZNecKfNcBBOugovMCTugRCYD7rHOlPJ4ftEcdk94ncARc6HJKcoxITUSCQPPN7nnmaRqF6mFFday1YQ5J0y4zN5VyjcVvvycD36DgrpTjIoNaHufYRbtNf+6El61cx+48qy8Oq5nZNGvZNJfa31AuAHUhh3LOL3Eslq1QZ3l0UFFUA89jdT1VYFuxW5ByOhQmW2Tg3ZzaPwW/TL+/x5ad8hBwFLfs0tzU/oSbjKcjcfcXgCn9TGBSD8RNXqczUEs3hhNQ0zt+CXosxIEqMfNtJ4BvsWAsVlGNAQYFK/2ofoy5SsAE806FqsfWHGJQJz+UrX5OykB20IhCmaA9BvX30u2w1/i6rQDrV2Q0ficbPHdQ93rRsUZX47+y566daE8XVf5i6B9TQ8QuhI/DhXAd04rwiZnF7uXF8CwRHsotuxQpWMctlY5M43eLRiCGNyNys51AsjfmPm4VhWhjALcoikBvx7iuvnbjlLUgc7hACKoL/q1b3XvTOE5t3/rHM7/QQtixQOGnzl0iWHNcGmQxWKKHvcdx4+cowh9v2YOtRmoXu3S0GHq1fJtVzTm3C9hRe8FhqE9FodPcNOqcXwzJO+4hn6co57bMFJY1+k9JxprmFoD5CAei9FMu3ubT0AeiAenHmnkkFuEQJWMlOYbxdN1uj56HzpSZXkGeC+XAPoKR7fOv8tm3Tco5PdD0Km8Z1wnOjcR3obD8r3KGLXyZjfGZEBmg+yF/Y7dPtwDpnIhKrpeElVTg3yneIF1aun8+ZDSSHEn/O41v20bKtCiEQ0vl1WKXF1sqKnzyeCaHObFOC6Dnzz6zX1rk83TJXFhJryznch2xnvZ6KpUjn/Di1F87HhiOr49f7jfhEPD6R7Uq5bdX1NHErvL3fgbgnOw/H3CgTihQDCojs0NhSP7CStmM9zaTOrGDz9iec2+geGZa5zIfrYRJTmsjxxk1U6tJpD4ukhTCv7Wu0tNfswC632nHYndi5kBrgFuCVZUG71fDBuAGJ6tWrDf8kfO8L1HhbEm9mhlboVUa6VeENHc0aoKrxPTLTqI2a05UTosB9SuiGWQWUyiMdmTbaDgIT/d2wAV+4CuOuyVkwHrcMDHBuzL657hG1io7hUM7wIQCBrAKgAMN9UN1P3d7S17TxYKdvoJgxZr8XEG22abnCq+BT8xVOsMbibWdASG6Ft5Kz6IeF6aRTV6tH+cBgHI1545WTV3od3FL9nQdV0VMo7jCRihfLWX5xaQFPdWtowhkh/H4pr+Cl+/eisf7DJ+2EMR5yUbnWtBQ1qtQEqKvRNj8FbpjR9lcvT76DLkENISHxdskfTvNnHoLkvMri7oFGeNs3JftwFzg+NQ+LAmt5GDYs4uMdTZY3yyORHqNMsN0wd/X5gN34lQndFohelxln5pZP1cp1y9CmV2A3yqvcI4MNlDCqN/PuSWuMYlQNVNfhIt3wwswptc76n9ek+cF2cMXvYJbc9vaWTz6n2TNilOGsVXcJ4IycLD7fcKOEuX43jeE4KWj275q/wgM5qtgaC0WlFwGRD0f/+jORyv6XXs5bEuCtlMjl7ZOV/HtsBCmdchFDx0d3I0cmBHdG+2jUcqqyDQl1VKKYUCQRsqB1rQIf35KX0E0hz9EHfAi3G4W08zbr52vv/1dJ/mrVvrY/Ms1OY+JN0jqrE+C8Hw2anPtN+BnnOkVyMCVx7JMi7PhBq+CJ5YckYNqzZVMzSb3uDT/j19V5q82lcGuef5jISjQdrnYPXRQ94qkobV9hrpLUM6Ol7smI9YDNn3xuYFZcEJ+RNbaSj7lRpL0SxMmfOlCXFZaRzL/3Tj3WWXC0L/kG2oTrDrlpllLvZEv2B4gGh+YkNLMqJbc3Mppo826182SFmnL7jJx7h3fdLF4jepPU3XNqWeCNG8hqB4iQ8EyDiZnGeGN4w6Kor0wgBFhHC3ancXrQahtq76c4htPBoVLCKz78E/o3ECEsCQ5CktUM8TOV+YLg4Geow4Wk0FZyvLhbJ6iYxJIuz2kgMHlQWMBYblL4QMBdYS4oOnJ1NgEPNQxtDTZJ6SLBh/Cqk/DMjMUc86D2jopBy+9RsTQhWSHR6yZff6xRWETBywK1MJBQi3zGoH5CAoCHgdmnPxtI79aRnYMeFP8qBUsT5owKxcXVlct6HeT9vKJVlLM2B1e9QXeKT9COsPM77WFiAQg49y6KSjXIZ9svEuYhj49+eMXOAuApAO6irslbmg0g0+LEEW96sd+6tc2TLSc5Xjdv1vU4TCDbaQ2ThuVaN/vbLz62+rnYxgJmQFCmyviHilyPmJLNbU3OQlLEKW+jfmFX86oZ44vwKfL8iqOxqHXlLMmkz26OIcRHtKc4Gy34V0DeKZN8C6ruyQCghSDhFarC6FHzCwA2vv1iOLMmd7R+5FlaZWps29dyJ91WYUUoHrZbtfvCrYRwu62gObVJNJCW82rpSi14aOuh/PtTyVdPwKt3IySpwwAQhODMycUdWTj2uT4vobzfdalspOOPzPjYDqd5hzuFLzitQQh1uDBGRf4vWpN6DBnKf3QrjMTnmn32PHO0xegdwtKYOZ2OOjiYK5aNyzCVLx8lAu7FIU9tm0H1ezFYO7C60RKccFhirDAqIoqi6T8FHrHsKvniqP1ycu1YvXKA3YMLtwRNFptv1hA5NF3uMdeoH3+Vf6Jg3IpwyRtuL2kSYDxb5D2yfmwQ1DSdZ0Tjt+bStdNiQll8uuhcml0HsJxmEE/KUOmx0A7OVQPBzGs0fl9z3PxQ0qXHmAlb6FI+YxixkJUb7os1dVjLO5RjTQRiYZK4I8B3HbZUaEfhhgXxGFpl14+590GQDvOsEDzMOUzrdnnruPtUdl2cIRhRFaNSXiM0rCAuCiqFnoHOSaMIbCUE4Jq3B73/ZHf0NZF+ssia7YryrJPLB6b7WNn7Cw3pUdLkOdAI4EUVCtgN2ufQnKlWEOkpw6/s5didy9AY5c/K2+NzQQJeBjtNY8FZOvG0zLQPWfadQ1y92HxAV6v0/B3SBAYsllI5hFH9j+oI7gKtrS7HS6POrjSVXNDfXW5ec8n3NyU3O2cwE9YJYqiAjIzEJD2V9mufh57F2ixeI/QFvz2kgkmLSs38iqd+qyiUz1xM1fL9BkW4zupyTeiFeIUwVcHXGQ9ObL4T8Q5pxvGtrTa3nAP0bLrkBSP/VIhXG03l/N3ZnzxPYfpz+LoQOmpvu/armyPOc8LCQCHpHl0NIqGCpafpxGy9TLmJgFqHuw+/i0X58HRKQrTjOjV/OhVmbDrjpx/IxRfVFAinnlEzqJ/HRHVRBYJ8puv7e7Nq6jBuaP5iJ1RViUCZL5Hah7fUBIoS7xUNS4QsW20l6PEcruc5uoKLr7fxBPReOo/TxLaSTshPX5YUz0oIdwBA8YNgFw1wDBTn8D+JnMqAQMZ+eRVXyoxd1MtiaPqgp+g4tDe23se9JSDo5wbLS1kJKpbcC/dGCRyOaMLG9S4MCuDiHpRw+SzvAtxjgKN/CUT/8prYr0MiwhWjEMzjsJyz9UiAeVTry12ln+9yR/tBuxVqExMjMCKkqF4X54FafBcN5iMIUvkeo3+Ee6YI0pqSuOo45wjzwoAaZKBBSjsp8fzGSBFzWNUVqitHkhZZfch65cap6wv/xYF1VdV46AGSudHZnn8XpyR+KaqCa8JLLI6PXwmLHQNK/v2Kjl4kFGY84a5ssTiWChWUPMFezlSva3OV/9js+B07K90nIoYNbCZMUHC6m6lrq3H5XwCFGcrF1q5K2mFXlz973z0zTabmGPsfPAAHeWgK80+Hbo66If1ZydUAOwsP0ncVxQUI30ZB2XUxqG5j4g/AOfIj0nuSUUx9JGatQbUbU3athKreTAj/p2yZkupyJKPQGiqFnHtLAegC+MOSMmBNXzXj/r6r2BcIyQA+GhVpM+sHBegXTPuDBLPssdwenKX+0VIz4JlGPDymRh+L8KUBbr4rz/jaYcAvhzefCbFliMpY45rRZucqPHJ/PmOp8l44pymIb0CfEIdweWNxlzpmJDfkubYekAmPRFf9chvvjzZT0RFugZA0X7Hy2p0ZUlCJp0IYXRzAKpiEd+xh0mRbLqavZufNNWhimYFNFMl8NaZTBfGLGnHhjo1croCbJKDKLXtjGoB6d889XANSxZyVcSsSfrXL6oTmHlHjZRpILFi5nlDik4oI7VBFMUmMaMSKQJ++CMBMRrqnNdRuE0qVjAZgy97o5k9ojvyjAepKA/yCopyayAdIDMxrOlMe5dpoQ/T2qZMtgjN8Dj2cpdZnoFoZ3IhRo4YOgq/FdfDvlU47phzQPlUp4PAqvx1yuGDBkiqI5eC3/Keeo9kAxMidi4/Lsi5Jf1iPeUrb71yXA1fE+GP7HlkVgn4kgG9mcKBuM9uJXCWLrvWqDVlo6d+WdvmDD54aFjcVrO3IkZ2VwF6y435ZqDYvwh/zxcemWTDdXFT156mOdYAnHuHCHgCU0EgLz2vX8ua0Q1vT7YA83MO959KGCeNQ//NrtOHO1prhR85WI6r4NAo+9T7ziVDmdQ/zCJ6wzix53kWXjk/A+y54fnsATOm2sFsNL+HRumqZpCNiaMTLM60P5B/RrXBsD4jRoMjEqGW6wpoXetWvgDvEGfJbiUpGpOXDADnVCCS3fSSUHETXBmrdpCAXNdv+5hCLqUqT67FMvWvFOBDYaR4R7wot5r1a8tUhQXOi72q9qjbSJlU8YK8BGAh0UR/taGyVHSa6IWx50zt8TKBoHXhheDE23c3OqyWVhSXtJys12rrXu1m40tZ9pvVxw+ZS6zURni407iD8bnGtwVXhtvSpdEGXKfMyMCsRNJTZQ4Iq4sfS82nVPyyqMjnjkGjr9RWviwhg2evf+fIh7C7DVXo8RKycAfPCa28/TiP3uDx8NGA5PHhhfhEvVXKLNjDOXQUMyyOVProPWbdBn2qt8VoTEEwzECeDOfHE+ltGRQROCP5t9sjaY53tFZ/M52PrKRe0xw73SwfrWDfMV12DFaVQ2DtZp1pmqPM+Pj8JwBQ7KLg5TthRoY0SeVu2ZwKWxGn2P4bNxsHfFI1u4P4olgvewD5n8d38buc/MKJQHCxwgsZySFnez24sUNJw8dVLUCPVhOvEztGnZymZZhepGZZMb9mp5V5nUnWr8jH40lX6IVM2ZJUV514q4WDJJ0whr4vYkQMCgUKXS77euXUCG+zyMPgIsXfjRPUjZIAAYq8OKvsZg76aZewyje9MGT15Cc1GObyvIglCKol9Irah+i+QGx2IegHI8Kbkkeb57AWO7Q/ETtaHb/8bCF0U4DnSZ5coGmH0GAG0MfvZsTN8OFYUUwBJIixegd1NjEK+iRlowDBP7d70T19MrXt4FEBtiQL537jlcQdGQsDnzQalrfW79fHJc6X0Uye5pYxUqliyHBc9Ss7hG1zz/+/vAWSSz/LBGJqn2pwzv1voByhRv0t7fRLj1LmdCTIjGhjmgXMcLJt0EYYpsPJEqDKZCJ+ORJ9uB8s/X9IoOQcPkvjGZQKG/+sreWDjR8EUkHoQCfzs0o2OdrZp+iFymsWBYfuDjUVYhTkML7xmthhctp0EXXws6EhlkhtQR8pFYxcMzpkvTYKK/qtO15x45StHTUMMfpNv6OOHlUQyjucUWWuZR2C1rQHUDN6EGXYinaqQeB9v6XXu4MHQK4kJIzzZfntpWcz1Oru2Op9mlhvomsPCwDUOU5sJoON/6p8QlRHtXwX66++VVSLS1jdqvc/r8GbmMkZp1r92NFQP7bXnC8ZimXbVi6KLsDLBavLjQMJiYzTXxmznCb/qpTrfkw76Gne3/T51/IEwILaxXkMiDXFydHh9V+EwZdgtPubAHlaVD7dnve8L4WvcECpr+t/7x97yrtvT/a8GQoBj6QCDVyHjSG8JdRGstAQUbpHx3Nssm9GQDXrAkoB60cTAyLp53CT1Oi1EHx+SXuJ+yBLC+KsiB82VFuR0fCslupQ8x641R5FRbA+r7XLCTPhPSlc8oRg2uKrBnFp1mXMrCNNCeeFzWMlRClHZuUPYHXyNHsokWgDJ1j/zm2N2kxMWswnmuqx3zeva7PezA4FMLtWo56RlReSi8gu+JENWg8IDY2rWvkSF7+Yce6UkdE+OeenvRplF3nrSNjUTG2Km0J8J8bdY/4zHeqEfB2VYstgwqwokr1w+Vyf4S1d0RCWKt2EIKuiqZUK12rCtYYL9GbdrXy+aqAuo7UlCORUnQK+k5Xis0sQLhc2o3L5ywh3uFRefkttzQdTBYGRmlxNvzSB63Iah5O9udPjVhbo8bWArR+9BUILA6c7Kl7Wxs2QMs2CFthHc3wB+ur4oC4uSEr6jMJpK6ZGKBIcwmPnA/kcuPrKaqQ7HOZv3w1xHRei7xLbR3GfK3Hm2m7s+ENoWBJ6240JN6kIDJf7E9FoK0aj+QfugHDHzWMWbEeUSxXnRV8Z/qPcm6I/HPsEs+9E2nxsikgbSXGUtztgEmHT4/WmI24Ox5TeR/Ch+7qJb3vhuBUxEQEXfQ5EWLRcmPtOSzSFRzIwVm3C8Tv926NTiBqavG1sM9pvsY/L22bwaB6ctmBV0H3vCdoyG84n2mhgGAgOGIE1Kcg4mRvaXrlGbadjVSk2IgWGXThjPn523zruifnu6heB0mpxa7s6j+VHecM45rtJI/b2samuNy44uOcy+E6lSr3tcRXgafoSYBVumDlO1Tnsj0XsrJSAdYsJM2egGeB9cs/9UaFXYMgxNpL3CLUp2N2zfOJ61KyOlZKMVIDCRpn7qnPf+Ei7T/llgYHfKCWocOaOv62KXwqXj0rqam+UXdIpInFJ4QWtRDdpIaq0W2skXjHzkRN6o3YSQd+fsHMHiZIDqo5O5ySck6rHEtsTgjjnTs+V9BjS5RvIoAMH3a4wRzfNx1qoglnbTGKMt4l2jLMH7sd1ArSBDhIUJc/bBP7IL8r3fcAxX8cRG6O62IpkndQWTDFfeeGaj09tlM3UotQSY6TbLGmi8gRunu6cDy2zzXBYQSqBpft5bckoyLpuNSEl/V1DHhz2bPdJu9F7HYsPclhUxh11M7MMjLr9au3qMZNFD4kGECaxO8iEM76t7UWZYmSPufxuQBa1QYjcBil5JF1DL3uj4FRYXCzL+L0W9mZGAehSUlCs0c9iRUfMtHQFGFROuLk3EDB6650s0QpjeyZ9gFVJlIiVXko05n8ThIgF6KNz+4ycJI8lakuwU3lwUZZmeRi79kxR7oWetxOnmHOuqDrY2fILKzK7c3EzwOYSPyHHdOBEElRcR9VNQJM4ZgckD/bDMPDSfoJvzc3R0Y3irDQQQSMlLZmFA231FL1Iq1F+Ufcl/QYv1PvDCRQ2jM5+dI3aNGrntegdNsyLuSHeO4hCRn7saARPPbmfVhRZ6JFlD9vl4MXNvabGf1e2tBh67494s7PthYzAmHKpcXNcylXEymZRwfei6p37w7JzctnlltkyN0X1M8cZg7y7gZuAFN3+2GQUlwMlhYscs6o04IxCHqA3AwxbMxfXcqVE3yHQfUAd4bUPf/1n4CAyjIV0MTIohQx+No1NkYwJDu2u2xvq5HOuXCZlx6v9lNggXy9dUjdMbssPSCeD0oZGlnY9cYLV9s0QL5tcpL+YIfx340oIgZFrfseLmI2NqClnXgFSXdygocDe2BsXXcfe3penYj7gcQ2ThA6bApxR7UWnevLeV5coWwvEgsxj/cpZm5A+6aWdpYeLzqhKlFtGj2WL+FsLFA/dXJN5zrcX+HqDUX+DyBtOoVgSDLWbKOu/kYfk9lb4k0J3ZtTcBKnjhrjXA/mTkD47+ndl80FKn0srxOJb1GnloWNGM6vhj6oZ9Tsg0W+Fe76f1381Xt6xcDIgJb89vzJHDAKibPGrRw3KAaIQx0JN1C27GTf3jOdtDD87TrrXtyEudSzjcGsTgkqFbPS5A2WqiOmNUSxJhdyFRdPQwTRUTE4n692xG31xcEVsCi31YE+gpQaBOgZRfxfbu1iHoF99D6hWZkdvv6bhMeFZvS7Om3f04umxe3Tlm5cCNeuWwlla09zncMpWV2CJkCAJAPkukRI+xSCZVlVryQruiKikp/Au6lg67+St7FHY9rhA8zupDbmmta4FcwIVOgQMSq2LyALJCu8IfMiNRTh2oxkpKMBJ8c7qNjKyWF2TBejMihVm4KY1Zr0u7cRcREw3GMU8qyWs6jO1A5HzSdhN4K4E+LVMKTkNn4fqZnf5LrrNRXtvjPcZYvyx843IoEyvvFagvA9nOWUJxK4s953qnec8pLhYmfMBy3ifsjUVSJT6B45eHPjsoIewgUsE5aL4Xw1uKwsSvuFfZRVdoSF3vJoyoRWigEJyg85NkZnP2DRPomQNhyDjDiwviKRXP8phAKtPqCEQ4LTwwb/n0pDQIAgAq5X2VppdgA6pnutE7zNdeOj6638ey7USwNDjHhfxy0gYZbJagmx+HZwWEXnsZnXcyV5jzdhNda7jMqaS+TL+7lN8jBGxeHB5Uxus1pPDU2iPMFcAmGQL+WFU+9wiQWnW+l0jWMgXofMFsuM4ond0FriHwv9wl4Q1QQbQZpw/0kw2ACjW/gGDo9HYMoWGVPHLVP3qNPaV3Z6PDPnQhU36uhE+m6no/SlR3dF3ATY+2xYMcYzgEJysaFTlhbQDe+CP5bIVKHE7te6xOqXj5G14JJa2ZX65EwpYrONZeyZOF230wZiDvwLY2QyuJj37K5r+8lT+xpkyCkNDENLdHRQjp24cKOM+DpvfoPnAuJJqCJF06F0PGb/StZJyWQWj/gbP93NU3A/SAm4nW7sWAn1W5B7ByjazusfmA1Qjll8HVB5aCLwToVPSXrdPyDpiY8V9WC/JYRV1Uc0GVhPuYto5JQD/3+7BdUEvldhQW8j88QX47CPYwTdSEA4I2dtsKS1dYqAEvohiJKUOSYJK3q7gFCi3mCXsaYe3ylMlvhcA5ATqaWPyxMdb2FDMfceI05bsiStyCYB35RkPMxSbOL+Waqj/gFy2c78kPp03dn955AhwXCjnPGhmlwW/KMfcF2qjFMXCVHCKpWw+Nq0Je8TF9sBMR9HTFwXj6SoiT9qghG1UzHjLAAGSfcVgUh3Tq6AHZGTj9NJwuVvUQJoRooyNNi4hnrPTvAbj56XTj0nEdtrPvj66OomZ/LJjQKJkM3tloqI0gM1ppQtYG+yLlegUC4u2MCuolXpzo/rdYz3EYIPW5IZROfcL1JZsamoj+uxiL2d7gvUfqgSknVBiUKKc8nJYCQJTbBdqR6kheTq7EjCRjDd1+UwdhuJzppbuHyu5zEW8RGux/7Ls9XqRV1xAURWM6sjDhaBnmkItwoGUBKiDyi7a+il4BnAfaSpmC6Hgvhu0YOUzucmhxw5FxX8ASrKembCe4dZAA/RtygCrqGHas2WunE6NZAcGkVN7MjICllKVfk8u2uBLF0hFQECvdn+QgH+oTihXHy1IN6TTUM/BuKkqkOw0v1saDvCREMOlO27kzMTplSOecZgezVFGv5SPU53LgwXjnUlvcA9noMEiF3Ul/YaVJ2fAA3Pl21zDTObheSpbHa3f46HlJiqySc3fU9qVsur4SYBn0i9/cj2Cl8ybTq+lqbNBw6JNJYGwqaReiUKsQIP8VdLn0tqxPZWDlOH+4rJ2G8VN57yGQhG1C2NUfgZmnxj/MJbhkrCJauUs8vBQm9ty1iRe7ofwFZAbwdRH/jQmvsOkjm/lmiUQVtSiTnCYDC8jw+T1xfOEXmVhDS9rk/FKPo6C4odNBO2fVdxU0WYqV7eVDEDRRRfnndrcQuTBlN7BKTPbvJbEGZABSmxKG3Oq16tJ68unuWWxNv1YkTOeKv7nwbi/sEvRZNkYbSyNUAp4GYnEfzCBddlixm7eKxaMCcTkGogSFJClMS0m8qFFHzBprIdDMCyeDQ6u7FpO5oeacdZ23bfI5tvyqfRlj9zj/JpMvVnAY4bYTIxJvhmWBeMKAysV4a+JWKlqQ8yOKay6HQ4T2F4QGhWX1UBJfibSjTDmtmJw8WWd2ejUQ8gWEhc5xEfrim/l00Jy2jeJX7fKJhlHpTdILpB87q0OBHuoVaqWVfQazggpew7FVFVosnQlAA/JUw2RhRzpEaoFUACqt+7YSCU+AT9yRt3WVU2jnCkMFS/VeGNdd3FcEnZUTLl2gthCmLrCk1GZW/N5e6fWgHYBdSLndXYvObFFsGa4niJGN3N72fJOsd21yqpdKnBAZ9OTf+EvPYMwUq9XDdlh+ZqKfRCVHukgRz/1ZOgAS1ThALrh0xZ6jziY2vK89xrs5lzRiEBTm4+bJvCyLDr4Sw9SYm/1rZ5ig3VSb7g01k0cofsKOVrAlKq5UCL3Rpiq0QFe/zmXo6OvS5G3WaxBZ+ZYmNvmzCJyEuI8m8oV9cfl6xx+ev2FEMWUGxhtL8GlTG02YiSLcYBv4Va0+bBrs5Ik1ahVA2Zerx5tKpcB1YJUV4dhyl8D0/0YN1mDLbz1/T509yduNbbzYKCV/cypypQN0bN0YZg5duloSdOtkqvbt4W0TGGeOF1KbgAXWvJYT5Vlh01yHx9Ao/aGXEKsyjIWo7kBPWVB9NtC2wyqYkIZ7IpbVM1UITcJQVdk6F0h4uv7/a2hADSSzSqMx6B6uXRo09atp0Ni9fNiX1MWioNP01hA/Rudl45xiV9QmbSf8g5vunmxmtfy3Rl367f/Eh5Yr/5+rY3AJ3TkQ3uldO0xhyfWJHOX99pcD7LhkW6rEILawnaYI959+vsEgJoSGbfgGeMEKztSVsI8QK4IHtIKz0FA/R+98zZzvZgD19f1DlQ8wr9f7BsrxvntJ9ZOzXv4ynYp1UcKJEOQtpWF4ZVc3o5gwKba6E2UZKRD9HiKN9BB0cTfDUaqi99P5ceuf0P6IifUMMK1V2uUyrgG/Hv7LtDzed281i/+plOIFDWVCaytkwBogvk3bH5c6kHJNNJWikgWb8TkTfSSM4IaAPhfPMI+ZplbQS4DzLMixfMwMWP/KQMNxI6ojdfn16jv8DbRHFcGZUVtNqiX7SrvCz9Z18qXQDVMYwZetKog0Ql3+4TS7rcDYotL9/WbUyQFRP0OVQBybbV91itGkghO2OWvrAO6vTqCu7Hvip5BR3G/mkVX62dM3bSRjNqGeUJU0kFvaCOijvd+UEES/XfQstMBWQ0Nho6WXUFMy3OPgPxA8O+HDwmuR0/1cOWcD5pFfOkX6mezjfeiMR8n/xGFlPl777Sw5VQeVUowtjuXB6wuWBAzj0l7POw8bJ/9Dd6EzW9JfzSZ7WHSRFNUOyjf7k1TYOyUVUshxClePLwlawAKfVHu69ZoBcub8KV/JWOO0zSdQk8cvbpiikNFgJP+geBtIEEeL1wlBAWJzlBpYbPn+KCkK5xyy+ixXojSPo407b7WALnQVYrPgHht2OVEK/pNy9M9l1eXoQPbbSM07L8tmK+dxwkqYuQvYHgbUk80z/3m2Ytfi79ssNp7Rqn3OELKnO7nIe9utjmARn/Zx4w3P+pwmQdPaUvU7NjOU+htdTLVSdSuP9K61P88MQcYvIzdxgI5JggVwu1/tnz+pAWxjddZHGZbsVFBWQbORCSOlFu9vOrTWzWJ95KGpgD0qW2VrfXJFRZRzLHFL0JVHAluJsBq3gahN/7T5YNe8+0k/mh0H5EKx5tHInA/UsRucj6DABgURtWdvyaEVmLJKs/VGXnZjKqA/WFsYW/YF53Q5u2Bp2m+2WkMRDmZgsI/XRfb3N/lzkl3g6D+cDyVrtvX1Jbq8GQItUWijgCqglAj1SRKA5A+vwrgdM7RhEalonug1l+2v6hl9vOhcD6hl/mG7OqI5vfyNxSkNxVqnCr4hma9AuBRqFCICUc1OCgpIIjZEH2YZPHhBj9SQmRZfjw6HTUmkdatUzfZPCQAwDTlwwlPK/nKOxSwAx1dcwAo5aRVjBnNzZSXSosaM4Thb6rkUaSvFw0uzlPqB9M+m+eQ03u9RWCHhSfDH2jBYYlJM/ZUb7kCJkoN4VvDQHvLzVyM3SxxQQNF9jcretFf3QfKOZMGHfgwfw4IF37QxinZzQ/fGeOeEV1llbmdWQ/iDNJNYm9jl2Gt2o9GvYpOZsi+SghvsclsFDXKrFLYJP8pDIthFDU4jUVJdzahsL6ro33aBbcD3Sh0NsnZum8shivwoq3mGuPZoUoFa7kWhHG7F/X099ZV6hdRxyJNnU3p/F3AqQJMzL4xnKqvP8PCoc/JPYKvC0i2qC9/i9tlpY/LzuIYyG4nSWyLqInWMe+MxTxR/ZmYmxLaVMEGIDCuAxfxABLgLyFT16xQWEeNJ3q2r49RCBhE2tQiQP1VAGowqEZlFzYqhuuhXSdnN3fUoG3YPYbtCYI70L2/YvqhBM/TnLTMNfy232OHv1ugbOzfWpseCnr7SFw+UlfMvhSee6/JnOef2eF2vhJRgx+M1Hr9/7863cYt1KHtAwdzhN9yrMByvv1yF/eLPxPirETL50stmHOzVWXonOGYyvgWNQxqDkBIFwXAQLGohiZQ1w89YT9Chr9axZ4VmYeEOyYxVfYv2XUIqwugRzKRaWTavYjpU5Te/TZsWyguYsgCm9iXxpj69SMgZdwmcmdEbs5yiZaCrispYVZJX4TQGJD8W06eRmPPG1ULq8jD0swKc20AKqn2d7UsMMzv9L+hqwcwEFAZIYYLGvn/YYPnmWCLt4/L+kZxibqn66X0Y8h7xZsVYo9eve/pjzSwzaiq6j7NZDK0zktI52KqnkPt6zxB7JrQn632i6lGGjg5JsvBfH0DyKzbqIYuGupW3F45owsk4KjQQ7PppuR7GtPyFyx7Kv8OxfKIUhwEevxx7kv8svR42cYzhFq9HvRkdM9e5zLwr1B9ScOPFf+u4IqX6PRe3wFbnOd7yIFeh34R85+KLJfbyEZ3YMFTA1+vP7jlJXZKmmXniCHDqZkQEyO/AAz0iXoeVm4WRPXZ4IhusmltsjL2Trj6BtZk2ILrOwEnTIuf8hSpziIhubf9oGd/R6F4NCgSLoBJPG4FhGv1hHQVN4sFufgvBZwWnCD05UCpjWl6x9uCRcMklsrnkVBrnxCNuIHiuSuswCMB38KGSVQ7I5gpT1WpugkctJDaRZAO7KK/xyrhXBsPI7CPqAMzVHewu9iM2R87uH65/OWlTWrbharSlUarxkQ/YZJs6862IQNOpZsAYuQ71rqFh8LuUJSRFcxqahGx4U44mGMDAO5FVAH6nPCQu9fzMFh1T2jf9C6svvYSJr2FHP+qOjh0AFUR9O68mKbxs6F4idm0Ix0D/E50WJp3JouojPMMZGUkkzwcA0X1HfbGIJSCbj+SdmS8AF1kbUUUqUivvwQgFab1GCHNBJh19N28QJE8h9XzTmli2xrsA3QGehm/umyvClJEcJE7DiND/uQnTi4Tv1NVENvAr9YVo2uFnBroYaGVsYZXNPe3occymF3haGSw9Tn9BkXeXmT9iLAPb3oBTjWgmg95h62ZptHkweQycmhkdrxrShiqmRgkIkrc5risix1DHAnl4THo9nuEXub/hFugqpRFDpotevdxrVVpBCd660M7Z5NeUn8H0HltkyCyzzqkALdL99L6Dbf+0UCNHLNQOafCE6s7lcTQuDwhx0dvXDs2//ErMb0maFHv7heevID3vgAh4QaBYclAxS7EsDB4V1Xj4wLUZjHT7GlHWbF6ibL1z6Zc1ZjPpH6VGo/kd/knYNlKd0pzXUpCK2G+EevCEHi+qddBkpejXB/2aDf5jn7nX98AuMf2zuvfSBqJ9TX3oMFzzmS1V8s0Z+5KOtoZNyYvKp2qy55IqlD5i8M+kS5At30Kyx1+XqyfVrBtXz801pYPxxAd+7ej2k2Z9bKfYKSgr2baQyvttl9PXfuk1asTIQXZ7CBnfvJQGkUbu1itYZ78qHpqKYeJ8pOc7QihMih7N7+A/J79kwOXpXwEkJfWQLOwOyoOuRaSuH7vSoaLhEABzc4+nj29EBR2GgYTVqXyk6sKuasjyJr4wg2jbYOGqevNy2EG0LU9KHpB5vTry584yFpiwsQr1uoH4D7CSW2jqyTji8WhuHDl3auak/rbINJi9OXSnvEeVlrIv1rR0TnUNIFcIR0fwZNM4c0SpW8Jk2BOdVyn0/S1fYt6ZNoahnxVBL//GhuKmsPVgCTS9yjrMe4clOE9GuNy03MAutsFNC+CZ08ZRbFVs+h32Xtmqb1RB86MOJW95ARpXDzewQPqqutTRpDSapjGiGUI+y2Lop2eVXy+63uAmiqbyQMuNBHSuJYXEq+Ief59CjRyCbKE9nhc55Hxog4jRKVoterCS22nH2lDi0Up193BwtXU59u5YEcrM1HYSa2/ZFUFMehpT311AR7Z2UWtnyL2aVn8F0oUoNvSghrb4ZAlnGWd+zyEfFFIcxs0s4luYyfX8ZNoO6BfCit+JW6Bocr8HwCK1A6ekh68Td+pYc6W4+NyfIuhZeshCUfACaULDZCKiNOT1lcGjhQSbvPi7p1cYtphCKrqwRhJMZLEKgiVrVYVtCQixAAe4vJTy60Fzws2Gd0FMIEL1sf52MccUk/ogyiuHxqLEw1mNRnmXbKX1ZtqwRMwUteBH9+fJbUboShRBWP8525wfIilr1q4E/qBNmzFi6+qbWgmbS7wx0cQAxz/J8p/hC6SDnqtxJOQLgAywOwBXTc3sZpMPytZ11iBjx1SQ6Q3qI019fbdm/1qO0WP9rykviaZPM0K+/Dv5IRfjZJc1EogxZPZpsOYdTmlnudz0C1haVgbEYw/xFabhb2iRkgrpwZyuBAJJWMsQAcwnusTZdgC/4q3e2w8Unjhob7lxcC46TySaSHcNsELtIFf166K7kQC7CknvwM4Xk0eY4sFmkrqhYdtpzuGIgrTddARThjh6BbXb+gOq83G1jw6ETabvjSd4aoSmVwmI4ugX7hdGupR4HAB3fcwhZbfNDi2TccILXuS5wQ5GSDQourim7lSDmj3qRWSlP8OTMk5uF/B0leGn5fhzjVMsvDv2lxceln0W7YiNDAW/G4AvisMkJ4LaKrP5lDwt53/hRUOcgfIR6+3/LYxs/o2zbccpWEXDqo9q6EXePEZHhhiWLI3qX4S49/laDGcADTNvCBI7Ov5MPQebmf9WFRQ8VHnDOsNcYF5LmyDXcY/3mU+9CoDFT/0bQNKfD/r+BCb55pulcQjP4//bxJ3L9WUDYmtJ9fBAT5HyFHDij0ZsoJiOEV73h/KpleXmw+DP8PuIyC0XoCks7fQsW6tPm7P2eFUS5I74uVxf+vHCVscQxq9OL9hVDAqivZF+OoMGLH5ERIe/978aY/fCTXoQUgxnHbtzlwy3+pyVA86MzsgNOfyoDBSXm8grGDjj/tZtfradvbGNawWkIefYyKWVZC5ynuw2I1rJwQhoOKfQrpRJQXA/QMFkqxtHEPequ5i/c2pTMe+omuZohP+Z4V+YFimovCj0JiJ+fa00f2qDcYerfBiKwvZ47vi6lgyb0WlZakK9arAuKaE1hexHgqnJqMw1pR+6Z+4A5QX970dBuT4Oo2EmdgLquYD8ZFRTke1phw+qkILq2krSsgRhMLzkyYawGotyb7xBQS8mbyc+Emd8OGDNP0TazijsBr5dSo9PelIjFLh2Kcg7xGJhpSkWWpgt2gO7am8IClOrrqn6kiItqt1oeAlTUVCTx/MDXXaqDN0JVnaaNMlqN5imxV6WHNOkqOsf828uL3/L+gv13YCxI6DS+zb2+/G63zNZod4ufEerofBsHAcJGoFlJVW3u6rYagXGb1jKFYEkYAI/PWV2ywIWUJcdif39yGBetWYIWtxEYFXXByv9FsrgOw9mluj0jE/vrpXrCBO1OZoIkKRM/AjwoOMBpi9efJOci65TU5Qew+OHLyH6TBBqGVPStbG7Xec2HuKvGw/jFcPKaekqUCL7/UqH+yb37NhR4LZj3/6dNBeJWHtxyfWJzujTYIqYaiYSSBxK9oo1/FJ0Ih1aL3up0LFCXbEQH6WAr1g0i1Wowp0d+XWA1hjvdJF8kyBB1k3Pgkoab4J9AozcjZY7hHwBIasqy/peuY+eAvEFQRC4yWme/+F6+ZLH9zMkFerFAiWZ0aF9L+x/EkmwcqoYusiHQwnZ/La89INmLL2zUmtOd6U3zgmpnkYnLVRQYu8eXPf3Pw4s5CVy6vZhCw4ug6AbM0WNPqvtExArdYNpoNbPI1AvrPDItxg7cDHu5BKpcc7DNedatOhzI87BNfOHtMhPz0vOM5zWCF5vNlZUnjYeEAIjQfzWRJ3ez1IQlJLe28lqRp1NWoF9E3sV3FGoEqgrd/L61vAOAf0LBIh0Pi3SvG+BluhS0yM5fKjsgiHKGk4DklgxgWiQMS8NrB+KT4JR0xM5o8X8/usMTUQXHDI71xlXKQHLJkWpqRBncevdMfN2CVyyczSM5ElqrioiC5jV6w9B6zTrRkWIQc4mF7TIzHHi5Qji+3XJDoisMsTtz0mIAn9DM6DaTJzkvDuIZFNBPdY5NRM6g6stmhFi21lacAIokEscbJGeqsGUxtbt6xOHWDmKSlKcNT9wQ9+c589JEGooE+0tIA43/StspfAzzT4VHwASkSu9b+901Uf/bj0kxUz2zFNvEHIDaTzGN7D6UUabY6a/TjAYgV3V4LiDtbADpvdiGn3zAp9VnlHv7S98/XZD2v4j6uGkYl5BWhB/20NIkVxc4arKL0+n4fShrO8f9jyvplXc7cd1oDepmondRpYYsnfRLTuUHGMd6i6+ap4n39ugiW1gSUlmYDwSHdUqjHSjpVBotddxK7x/pXezqi1PyBr3PmsTKxsU5ZpyD7nNTf2f7jR3Kx6mPFuF653TWrqxa0sVZWd0ne0aq1XM/VPeiUjk3xKzKUli5Ed7jtEkjc1RH8Rf1Pa3RApyty2f66RPrzjVj1V12EAklntkU/LHXX5iBcE3sVa0GA7jD7hwuLg8dpqmQrGSjExj94zvaGCUULynXkvxCLM8YgXA7e9veHCKvljntMlljzmcz2dEKsofEFDXB8aBqWEC5EFBfYya6gZPsS+RYccZC6yePlE1YFW8bw50VMKl2K2ovk1td75TWfRev/tfAptZ5BX4wx5563USz/YHFMYlwsWX1HT0EfrsTIacY63utOtJXU/9yAVYOY8PMTZAsjte33FM5mNtuUk1VC9Vj6vPkg0O741UhKGXieKpvvx5OjYIUz+KU7iFonG1L210TKNQo9i2ReFjp/E8Xz1Z2PiHKZolJKo6F0V3b921DP3ZSU/WzkPZU0UaeVJXQ5JUQYdeUn+VDVxKE7/uJ1JHh0FoqXEf0qHAVwwqBl+xJp3bsCtzQHYq+Hl/dZ6N73vaw36cLq0xP/Aa2FdqkOCcIpooZ/KBU1ADgEvsr42Gh//ZpUfGKkoH1/BemxB6Vk+Ywvk8N702IlZ+hXF7zthXmtb9NW6+5CMaK3usAWvAdC2EINok9LOSjrSGoYhEztaoPxG3JjC3tnJrFY+bGPsstjNYzAqqq1V8M7XDsTgZ/JxHXUB68ZVFidbcxqRtgvuknLlU+U20ixhnuea2j2OsqaGER5/7NC3Q3MFQkHgK27EL1xqA/7iGV19KZBYjWAVYg9K4ZPIwjzJyVPBLYpQC3IUJyZlelhTGdVHUUFcocUNmqjX769N7KskWo+kvr/ZxCkZ2IqyU4dX3nyusR9WKxWXbMWAvIILySTEPXgJu0fpRC/j6UtZKSundbOKlcSgOUdyvROHJbW0ivCweQNbuh3m1LIWpMBWwAdADta14bzcm6zyDG8jx+lsLDphR1/3P1LUW6h3N+LIjOgoLJx+a3EzdPYrOYI4odxdAyghmPuIoGFCfpcu/rPy4O4FeVWHi+d6HyoyebeRCiJ7+yyLU7XzVPw6qRo8TT+HeSSPZm7u9mBeT3n0XQoXeADU8/7LanCJbvxy77p76Tgeh/SKkn3JV4Q4rYUYnvSer7rlyI+hOWUeX/Pdl8VKOShd9VJWchg+xkiVinoNp0NZEk4CH104PgKsSNNwFM9oWnInxbnJX4J9AmGMzJvuf7VaSJ4if5dKzwx1N255TCvJ1x0YwckLIPvT1DD7wsrszXMCI4nx76TZ1dajw+D+cCaYbB4udrJeaLRpBvlq0z9nC7bSoV42LU2mvcELZBfcV6BdL9Jcev8Fi2JG99qfoMMhteyyFFXhMzq9tbOvibGAVe2e/19T7yyC86VKCGaqLv1YEXs7q78L3M2byCuML4Qk41kIqr6UTnBOzcqS8MHnH9gzuJl86by/B9YqwyRZhnF1X74q8oK0TQ0K0HYNwcCtqQ5jBOVQFpklmwUxiETs5iT1v+7aLnOtLIyzWbIE9ha1QxSk/9a7r3oLNXKkHDEjoHBrjJASmsNqtzbZhrZzwLid+jtBL3dUWNhGT8PNzzwEQsD1jeMUrLIzo6WVWA70W6gSu4tCUO6DC1ly2adGRPOVXIT7eQizDg29OECtM74eC6dhAzxSJrdzmwSfLCwJYWpDp3PTmSPTbvtj/QB/kadsvecYR6BqxtfD9nyuq8XC5wQkEutDM3cnT6ZoSoJS+uFZy7zNYtLp2yLIeR1f3Eiqh2drImWHgl0Yn2ee5Pn/y0x0yDKc4mCeXFhorQIywCO1JGZeLNVyc0z85hRJHuouMdzzmVWENgvS71294cVyHBAiymRzFKIOHYi2VdoA8oBxrXsEh/0C0tpHoliM9Uf5C51dSb8yJortnxg44hJiI0xK1nNYhsvKkqDPfj6Sva8pOAF117vWp5CEV1FJKrhTMiBJ59pQZIbTvkQfOhuRtHEuCRFsD6wcRiTR4u70hM2Ah2AkoYInkTt8ChuZ2wG2XHgsTYXgjbOckFhGPdqgZ1N/LwY/oTxZUtOmdbLQ5kY+kfYbukq6DvJ20QzHKq5yamVROtFAiRktKXhaVNTrOP4EDOV3jT4p55NYgswKQlRgeqeHp23RoZOcEezwgilOcH288tuRhGkNzUrcUn77si0NfzBErZ9Pe5HMYe8hnfJvNvn5Dl1es0CP121n3LYCvMvpx8qgl721akHiYm3EAs9v48pgSl0ngWYeyDQgLPF7KO8EcSbWyhREY+TwkwcPBouNEvVSIT0OnFG6suJroinlRj5fRgLWZ7jk/cJu8OU/tXrxOgUn7NqPkHergcMc0cBowhYxWJyl/OamcabJ09LOC2QZzhGsagIfsKz8PjV6dXuB/yrFhoJ+KulhqxU/pvS4rIz1J6liLmuScdlk0aOwd3dLyVpH8Pq8LsJd9G40OfqI6MJQ7XXPsSAWI9iVW+7Rjc9afn4MNs+SlSj7HLZ1PmivQ7pbLOng/twc8AteOCARQgGuJzlapmtid9tdTXCbX2elgXrlVJm61IhCB8jE3OML+poxT086CMGmTjur1vPp25bOQAHjCZDplO+hbzJPUS/9GUNmlY+zFpmm27Y9+6dNmT8J9ZAuAZm82dcNjK4TG+4A8Cb2jS3ol48Oqw1EXoJWlj1+deUbhQmMFXrmK6cq7drZgPzleQTT+vADzHag3RnLXIga+hm+UgD6oX7LM1J3fPL7dPNG9pfS7U+PUWl+PFCzTBbuycFFk2c6T3+IWePDberOI/J3EYc7LtbQEcBmelX9jVI8JxrWpji6WBbM+DOQhYmt2U4sGaZnQEFj8LrBQeXI4P4dzKbM+1HzaMtO6Bl32fEGuVWLV54U7dquVcG7wloRUPMmxoLZfX5PrC5r7BQg2e5GpJ4D257ncxxq6Fj/tO0JlAyuVNB4VrVuduQN4mWq+2k5L0tyqWm6bk4L2XsHAMtgRaQI6I69+h7/mBWCiqM5SP4kAfJ+c4L5/uvEZUun5usHYQ5WlKuE096LVV6nCiuiyJ8hhzRrUQG2/uimPlumir3hOHKYlNQAmnTCZD+X48vh/cDLZTObX9E68nYpeKSIZ1+TqyqyXRGLvs5OCkTfAz1amX9mmXX694eY8EfCsg1P/sFcQ+jJ6EGtZTPKOXrMQtZlmoH3B5B9mGZSpw1R9iVpik+azRimLlPjUHdWcVhCSiaiiEea971XnEHGYW3AevJoxCae4iThBptY2ZMsu7PE7TmfuYRgRrTLXSwDrwItyR+umYObl6gfcExBrsTYq+OiJzgjEwzJ75jhVZQD9PI0s5P/lKVzVeN4vCwwT1rl5MjaZyFVO3VnYxdHTi6AY6KhO1qqH2nD1+aPyD5/t4VZPs4s62/KvVR5yKNhhILPvCvnE0/d8OKSxhqI4xwlZEE3KoqOJWThpkXvXQ5yjcujj1OpSb17I/hFs6Ss9geL9TyS0XrN+a3jBGGn+Y89p6eL7E5QZomt19iNfI4UVgj7/KK5AB98RZYvBjjWzd9bLM7ZRLnuXSWyl7jaT5+26Pk+omhct6guQ7hsM6PGDTZZ7yjCapFrAxplBKmnx6OO/Gl2jWSUAjvMg8avgtpS7J/0XT7C27D5t915c0MjWp6In4CcDS9kQj9ALy4VNj6MSaOfHF5zdU8aPSRHvwmDmyvqMoimv7OurirgaMaA0SFJDa1XDUG/FL/7+U6t9r0Gd2EPzpBw/eJmFhgEj42QUtZxyFRYPmRcttpGpYbzXQYg5NVImZcZy0aM8rFgeaQDDbQe89FVQ/WGaQsfgaeud6yQ2l74aPk5ow9DgNoJOtInJAg34ZL6KuprD/6qWyxpLLfvQmX8vwHS3y0jyoSD/RZE/uGUISRsaLrPBGqI4f07rcten7dbRoLLcRjwp8ODDVhGYsgNlCCC3cuY3nfHSw+Ye4HxvP+sBsldZR0vHJ8fQa9+k/ukexgIuS62gJqJ4QdZ4tIvOWh7x8ocXWqzYYEr41ue+Tk+2koQitQSPL0475RdyZ1RznsiH4Qx1V8y546eJM8IKyXdLo01pc164RLsBcn2J+1bbaKa/B1dthMXGRAGCxaDWb8LcOKOVWkS51Tn0LALqJEpAoPxQ+qwpiL7TncKXm6VfvhJFoQO4O+F1SuhDsrl5SFhdgZq6Duv+MCXLqJbP/MSpQX8IFX0KETp4Y3KoqyBHGL0PATUAtHSv81SZiiDyFMk/xLK7rBj1YM3NuHubkzQELsCZc+ZH9eDBfU3m4MQ2k++dzCBubWcGlUUJm1oxlWvnHDw9/3FeLdjQ4hrUtGLsEWzKvvMMrqUgsGmLMSFUejYggnF/OrOZdZLPIl0yQ9TeFwGXRBJuXPC7JTe8GAZtftsFpuM0EBxgB0lxcn5pK4+jSa7AzHOglEF1uIsr4rYuo6jF8q3R4LanTbrqPNE3G3S8kgf1JaqAVhttyia9XBPj8Mjwg0cjtXI2HRfEzOYQuCAL4K5G9yi0rti0AAmBD+UZh+JirAa/r+bAQJFkvldhGrEz0rv9vIGdpfS7GqW/9ZvqT3tVi9XgdXFnKM4VFAs/tjKCBoJalk1J4jlyvsxFrdiWscNexfqRKeURUzu7iNhAjVWMFM4AfDHJrhJoSOMI+xiW+0UKOExZOEdvJJ9z46h/3z+GTm7C3EsNdTOvSH3PjNahr5K5zZabosZp6GVxPZU9w05i+MYgHNXfP+pDho2VJAkS/AJ3n8urIrSniRADrJe5DxNUBHLt3sPWIzwoh/+5Jg0uOyAQpc16l7eTrYynFcZn2KqLTd7kNu7WsJ+Jn/WdlTUr4iL9t3Si6T3zqZszg18LvG1ePaQuOik5zcOvm1bIWacC08D8vtUqJ58TQHFsrLSHs9AVAY4yIyC1rsMtCTR458ADz7BDMuQtXyTO6iSU6tP30fno5/ilWebI0cQeUV3KW+oY1g3fzvV/1xY2qZ1oqlD4OfUJPCPjUXdr8gAKq76+d7VevXcAz3wwKu/bMhtDHDfWJ8ukNLpT6LU45yOXnovddADu7oAzm+3Sdbzf4YGf2nIExPDaVXkwCVDosDZLEAkGZQJBGFkQkj7p3RopTJSrCpVVUWn5S4hxStt9Kxjwv+ydd7cUefMkmz2WwbKdl492K/WZquZXKPmtIo5Nd63oHhZ59TB/v69WqDxegN3yQCmj2AO9jXlJhOr4G85ZOsNrAMSr1721agdXQS2IbPW0TS36UBCeBgYeV8/r76xThaSoaZS9O449X3bWbNG5c1YcXxeRHr6SOF8/xmvBXYGQSctiP+ex0iQmGZ0IiFQAPUSENZYBr66TUO55ssnoXq1HFx0qs0T8USGSgzguTvztHPbiYyBBAkD6SzI5xM7BHpCFRQmNedHqwd/IYW1cJbLZPuGPulQObdzC6Q5aQ4wO0K2LixN2jkpn1numINLNClQUTm+qjiU3qcaiLfqK5U6vyw6B271PxcE5BHnZ/K9Dwp3Ypn0Z4DAKLx8FfSnICWAEEU2NuBGk7S/avNaVlZBRxtCJpM9rdmm/6X8IZBFryBhM0NtytP6cAl7qgzwCKymmc6QqVDq6NtmvSlsAJNKKw8VRND6MwvmqYORIEQf3EpM4Q4iDvCWPtKMQ8lu2ngQq4Ht86W+M4w4AskKmAlNXYiBSL9/y8+f2t5NrN+bQndOCOM5Lff7/YeeVo6yS6r5DigYQimeBdNw+GHky4Pp4NXI57u7pgII554r5lyavrAx1vzZsInQkl/w1FMRcszylEZLxTeGq7y6zCT7JehKKzSaTSSEJxvcRDStuRQ1KLYJbyf21bfuAN/Sv/Clx4D5fdw6OlD6EeYTHrwboFSUBR80MOv07IM/tvxAz5a4JA3GYdylj5rBkR68asuFGVMh+wApJax6rtUPc4YG63UssEpc1CEcVYnrmgyN/x55OqZhckNYWDUI0j6OssJJzgugqx7u6lZY3OLUqv+MwyV6ZfaOS4zRfeJBrFF06Qxkb2N52sZgwrLkwICicU7C/Vke+RMAOVe8UFFf11e6SHb3FsDdwseN8WiOcrachkuSqtSztZwQ0sRiOfrXP7D57XHyMSaNYVBo7d7xjrw5mT4ET0m0L+tmY5i1R841zmjAMEfMihXR3DeT31+Dx4MLrpLRP38IXxJcnE9Y6AmjizYDffNG/BOqGVHBCDQGt2V8wsR4a259p+gZxqrk4FTTnE/0Fe5XAQnTD7sbgsaCgGSsdvL+13C7HuUFjYc3DJVUc+ggqxo3JmYSO1h3DXdzax7G9Xn1UZO5J4Bhn9JyXosN8vpZGeQkWNjleIzvAx2MnhH5uOP8Udck/GgI0Q70SoO1NjFHYfh2VB+jSJGY1vATFIY1Xaqo34ylXZvU8ZPBBrP2vAHXjtiRXv58lYjPdVLANuHUnQHGoIteFLzGRXR/Pnga4kbevlcy3uJ7ncF+wq6rHERSFXEGIamRzvft3BEE1EBhJvIv7ikoBJj7yEkr2avbeMptE29xruy+kEZea6CkODn3Ob4LTAQlUGSQPf1yJc0dibPfAhMvqeyiR2qV5ayUYT6M9V6u0+zhRKXcvNUjMpcYsjQto8HXyGaFmHE7CDnUcVNvGVA7nh403Zh2YHD1lRAVfRz7oQncxX6zRGymAgOmLsEYvDSx6q4o4rKp9xA+BWCfY9bQmalW9MjNxk46xDrVwhxls8L7VcJnIA/FuzIBHcJRdpQmkjvgcgcygCmcHRGw0eueskIcn2C8zBHRnPK4g/fYHbRx3thwkcWspoHsACKvK+OwvsIEdJWtWpyYyi/61T7wagL9bW3lRJ5oVwgdgS/egoVfKjd0DVs9hR6QSQsfEdYLxWpZ0egFb+doj65SaNPMCCOYt3WFqAumpN5urPNIFq57UvlBVXu9LhIawBAiFj30BGsD4asS1VIZFDenAZwG9qxW/Ic7HjYEgeZd8IlFspk0IAOmnvUUl1Pn9Ec6pgLl2KzfcxYq+cZCAHSagU8d0sLyesj6kKsy4COv2WStpWmsVHukByiKxj5NuKq5RjkJVZNE8SK3ganTgHTjqOnQxyMNHBsGSC1owmDGUnRk01J0lE643rApy0O2qMNwjb1PNtqgpdRy2q9ehitQzlMX/p9siZfKATbrxqjkiepY7R5yTq0P5Rbq2vFs/aigY3BydRaVJaZKeYUzaqZZmKwpuXPPwZsW/u6YMy9l9Z69ThxhH3HloyERli3oEGGdaPcM0VHoa4jwnl/2FE5J3Za1ZzL0jJeLjWIxHibh0yf4qcAxNeYnB2EVM7veSltoQJy4tHgxtNu7ZWafZP2PZup2WrHcAmJJXzX/qp8Ddn6FirweQsoHLiUYg9998ACG6EbO9fd5tLbBqHbmB7ORVVy+Y0tNAS4IAy7/ouJGhNndvCKkD/Tj8C6+PV9g0qLSFr0dvOIf/az084FfZUWfeRSq9zgmsk6zkdp5nVMhbNadhb5A4FKLxIHeB5uyDtTgfF4ft/mvYpJ+GGSE6owt9gp67KpZWHGA6aXto+NksFFFKODPvetbZo+1CheCAVTpAt8jRJcjtRJGxK/+lbpTPT7lNy8gRNmnZ+87gUe2Mm4AEZR0b7wufsqBib5VVnfHEr3fAcwy6O/a4YzJvikdBcuHC/77oJ2VFuZTQcPUAR6KJuS1TVRIz8Ket5ub8sW7tqaDSY6bR76imjXq6c+5xfKs9Nl6O+W5iLy+xFYKpU6tCtlDe8fRjnPKDHO1HbyISQLi8mEPYwGu6/QPYqPbgsXFjlTgyZqk+gdWI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bw1GRb2cz5rV9pZrDqP46GaMeWSuf45x+CZBIzzOeXYbOQTvmDYO8OiQK3Px8QDzum0yigI96OkN2jxNnF01+bl8Qk7osw72fznSZaaM6Woy7DfYBGaqk240KO5xvXb67OwXwM20oWbziDiMGxiCcgQ/gOuTKTUkKr5Y4qif0HMGZfZgZ5R7peT+xZKMG4K0PjaJTjNTO19r0Tenkg65Yf+mIua+P5Iw7YpgX07GmalOAZzONLVn9Vt1cZXsO/++s6Iz9Bl+wRWDjO7zTiehfCdzuKDBm6iqjZDz2kl50fM7d9TWT3UoU0c3EoCMW3W8lilCN6ZCsOF/Y6MZnl9Nv5f3U7bXCw0IxxtEYyheSXNAwhOsWk7L8ptAprAYSRxCYH4JeA/rRP0voXeDpKaxa/zXcTQPU1GcEwZbEjaBjaF9Ko1NfETK+U19yixf/chkK9ywFF+yiPPHEYHWGOC1m4GfJ+41AUXkQ1dgvbqdzm0zqY2W0gTgh8VYUsKmIlhhPM/4jhzaxqwy96K61sNkxyvILmN5UcFMhe4X1vNQ3duDkrYkkq7Nz+ge0BwhpRUNxZAvO46u4/n4ah/CpiTGZkiiL6dstDlknDkx6BLDB9EsEhfCyXSeGiwvNjANpzicSe22Qmht2ayU69zAOWkxaYum71/+md1uAvgArJHx1Eh3pixfuXhrBK9FAFasWXCrEutMjqtvvvjZNBO3M7jJ+3d+DcgKsrw3RvVIaRcyWKI6BEV3U9Gw7kHyhPoZ7vlJtuycg6xpcXqe6vjeKwUhf76qg43N6diBpNQYvQhcDuJVotsp6Ma7+KqP12UcoAyredny833RB3kqhMiTTaOc1nsAVmwaR9rps7UDPIssUS8WZtMwu2i5zXhNbnFBYY8jN6PBS2XtA0E2UmtTDu1myMo7Kk7fyGxtrMJhthDOzv2NE8jndeLKpSZAliVLw2D/B7teRACYgrJPnxzxktlprg4ReQd0LmMrbDAIq0T+cptEeqsdGn/y4hSui4v4cgoseyp26oiUUU3smQsp1zb39XSqtA89mEMYW2/1QBYw8PVe/JgRp+tSmu90yg5FpVdaTOmoqozwvTutskPtTmptPPZQ+ph4l2tyslGwxF8pexFklFFzzIz6Y9GRX6V0tf1hM6EydmL6DDZkLVudisK/l9lleIOlcFMOPxzEa5ZQs0Uovl3ROZBB9X1PEeinEMW86/AWY6Tv1Cqnz2Te2MpRUUPYCuoM/ZvtWZE8ZL+gbqJN1DcYuIKfKxOjSXBu/q6bTJutVyxK/MEtGHMDpFyR3nutw6aTKoVeyQPZP9KWMgMQFqjk2hHilFFrUbU5llC1DENOwePSUS9zdLguF97MYSC3p1QfPpBl4vjM6x+J/ufHJy3Oc7pK4/B46R2DkXY38edT1vK3yV/nTTq7wSiI+uRLcBu6RiaJMnPxUQsjkoIQlrGxuSGWSdONUz29+Q85aqsKfU3hzVxJvql/0G5hNwmOPA8g53XEeVOHi5tiLbYblXW58jTsmKvrQsl0fYwwHtgOW1hNyXXd81y3K2KNEg3Ua8YHVe9JiOIcV/5HABVTC6QfUeI0zRse7WMG07GWjieUbaF3vs32e6YMD1Gslo8T/klZugFzXbPO7keZxVW3kLNCwprCNnxJ3FwtttlV0WrwD7RXXvlaSAc0xKcFIIOk3ng7z8JI+cLPQaBD2D44cEm38rggZvT5G01PaivY4fJ8s5yInLsOsH7oUzqqScKPumYp8fwpNKlIfiDvWP87lvhjBjJFqb7N77lONzAknSVwmMxPom9hl7vll2UoxO4E9FCAmE68bIU6OrsvZb/Y6Z/1sQt+I1WGY/M/n4ZuqmrPMp303hlVnD7oyK9qtccDEEhc3yikowNMl+Olqgbtk9yWk96p1EYp15bICE/nL3gIKF7J4jKa+Q7tK6I+spGqqODCwlW2XSf/lMRapWqDPPPUW1ldmxGoEy4KTYeGGtGSEwC/Y5hCRbnm2fnh9m+65BIWxMfZm+spb9YMkhUMc7oX10Z23B1zSAv2y7nms8TQqeNcZwyEBD0jw7bQuGrDuUt5ioqk1rI2Rd3i9nKhMFIyi0OIsACWbWPX4d4zXrhPnbZS3prTcCNTKu8olPWxZojoSqqfe1dFouok9ohb6tlbhYxN580SYc34NDXSm1z8al5OhDM25XoRfCakIRonjbsD3zCBGApyRgNiY2ShhgbSdOH2JsMOIE3RnwqGYx2Uk8Ldcd8oSWSWm5Y46FdIss9fugwCKFc3xM7Sy/RZUrQtuFwNuMImp59jF7EJxJS7e8NUgQAdDupUEEFYI+Kc1MCtYTsZgLjUCVnOUCh32V87WQy7I7v9L7ytlThzkLuqNXjztmGsF91Tq9TwrLRuNb+YdpKlp38jVRBK6f6PZGZEiszCvb9xeBX1S3yt4Klm3XKjVmqDfvt6oVw4ssiH196IHuITNv86JsHlH9GjY5poMw6NW5QfhIFWeVRplyLWNgiJa6qw52A6hHHDZa1nn4EoM569s63f9MgiEgub4VuuZlPOqmQH40VhK44ikloF7nDBXDDMwbAwS9IjZihwFDODtfWI6prgw7yq3D3mLxS12+XB7hOEu1TWyBT+1jAe1m/V+jmbEVVusD2tXOcIAT6ljytkcvgp0aUrVczCMozqUeSmf2r76DJGV12mSiVCUAGK2rw8WFaBrsE2z1dtVFpubfXPJVBkTvu3v/1T7yt97pGKhXJPHAWDBpLZI2uIxhde48F2qqGiBrjVfXQxeTlUTMY9qmAflfJExAjw+Xrv8oI5ZVnzoYUxp6sWrMdPDjYnpQ4qc+qvxKkLKPWLTReb3XvH0XAiGhNchnV7QbyM6+fQwYHsnN5i5iKukgfjkEPxIM3txCgknXJjIGPUpLx+SXwweJ8Yyy/dVJU54JVBtpWMMRUzUT1Jg3z3uZt5jRYPksU15Q52cvDru4yzWwx6qAxp24NsD1vFnJhBsVOyl3Etd8VwH3IIVH4tmRqJ8ifqMmkCm7oMfSRHbvMF6Cd/34uEknNlTI2iUriPc5CT8eKO0Kg6R1Z1Ct22T0zlZ3CMCjo5AlUxJAFhME7qsGwGbOmlaf9BdAKTraWzOKRbkOyF8btSwDWij35B2Pl6FDrXRS51NrvJzFnjYECTPoOUzFcVJdSq06pPb7xjqqHJ2iO9Mkd6LTXJvJ+3k6kr1t41/AuINis2CVHFumiUi13l6Gq4lttD6sRFmeM0XZFveKncUGbM6dGPhhAIXiXrQWHNGf8HO4TEAftVIYaWYRs2pa4nwT4YgzlSSZs54P5Vdl093DIlkhiKfqrtIeO3sxOzGgS/T+YPUtoYExtcybAJHJSsOOC+7kRNmS1adN4thPU699bT3DlW45V7eV8n+4sKcPT9kaMxxOZn6yt24HbZCEtEJjjxJx4RAq8qzw8knHCN2j/XipMnRpr648R4TOsd5Tc6Zhni+Q3zsd1Mmcd5xP+02q68Iu+DgB+BoRmhF0AT4JKNM3AEULLx5LyP6n2SI7ExFhf2Zz1UHgawHhuUuFNjqkSekQl1PXRur9HS4HKCLZfsCPIWd+u3PnhG9di6fUWKfkb8lkLCROfeUyTczD0JIeHqG+AQtXKnN4oirnlOQMNPwj0xH2rIguXS6mdwW+OrLjmhFd0GW5lxRn53PfhQL0yfiJfSI6U41zOsMhfuqwipUrCykry7k2fdqB66lDWym+r6dYbFpWMObnC5tVGrCTeNi7ntxbdGklD6sZ8HygwfAuIMdnhC5/l2Ct48b5FfEu424evEOs+tz4fjVluLXwHXsrjJgQ3MST2NY0MyUl6W4zYFudd6sG/Vt1KSU+N+eqsvQ9OAuR5szxZ/eL9zWfA5HTP+475OWZeuyhqzvErS0gkHGmA7FwLxbDZ/fz7ro26+0EzkBN0Xb/mdct2fFKCaZJmIV6lLX4x8V/SKMKA/lXX51AglForSB2DU0J7EjHpvdAPCpew7n9shKr4XmbDVIaWl46fUoj1cRJkNQGpcZJlXsy0cMr7h9NfhafJyi9tWDk96vzFWI8PHXJ2pWMYNbZ6SCcvnsrKSK+xe2pwsiIG/q+9oSZ9kupKkecNsakF187pgQVfn7RUPw4NPNiixmhuiCGJz/Wvu0hBD2/2YtCy5kimYQ3+VELsvvpOIcVYHrpM8wjDjwEZ7ZMRFhQn/f9eFAYxuKkJjFr0g6nVxV0hni8dxJsgswix3ukLcNCCNdwrIQtERIsJFkhruT9soHYYY3DAqQCQFPGQhtxnXIkGPwabXxgK9ctLONWpPhnCyPl3LtSYoQGoc4gB1jWLr6gC1OFXWXe5eamjfSNX180tBoNOOqQYmvcep4b3LT6vT+DsH+mKoFw0+UWR7KbBdxXkMGclOHKXKRXKJpwlQW9jlyUdj/vO5Q597Mhfkk0JfvNXleYO27BeQvoHOCnWmXCuSLAFz0OebSiaQw7do74Wa12VGmUC6ujL62I92WmlsKTEW1LYLMOUTfILtJkh2k/lgiFYzhq5rrXeCIGOPahUMqc7uEiEp1cdVTP2fuOEadM3TkpvKLfxHnwM4E7fYyMddy4u/dNWy4klyVXiVBU3OzY4SvMv+h2oGMQXSxpr7xDgM7vdy5eWHzPI8DFDTu28pBTPvVRubnKrRHpNNJrcj/sPwBDTbP/SSzqtSR3HnH/poqQmxPGWMjXtqGPiL+w0giME8ItGkOF8BNvR4PSSAJNsWaUtTB+lj4QnicxBwEpEtCfN9R0l3IKaeNAOIbrLhtoSuMNBG25mkAFHttPrVOh2dqES+Kx6sAWOU9rBn659nqfvP8r5YHAZ++ksKlj0mIz44NQOqNOLMgJ9L4TdlrBImg3E4ig74s70TE4nwrH3HC6OqPlw0t9p9G3wjDnvhPj86maE2WFuTaSKM9UTDa3XooB6iAzsUokWbqe9lrDii4XPhksMSkIR92mBkoJyfo//mO+OL0OMsEgixWEEatQvyTZ4FUfxb+zFdFToexTDr/FA9n7yiXIu+xeCrCNqS6O3wxQEgxEr9oR8qc1kA50NNDfgWJcC9cKnrfasIcJ1U0TobQzw7xa1cEGgOnRH7lSA05cwXtPSs0852ZM/XQQKh8qOH6Y7yCa9yGBl3FDnXAOGbb5FxmtPWiV5/2InO+hL27RkxBC/Jpjgj6/jMh/cvTvn+rU6f7OPc1wnLyLY5Da81b7NE25f+m9AlBoKAho6lV8/1Qn1RjuuwRzNxx31/EHVsS9pvG6oVZRXelXP+UyFGok5jUV6xpIBUeGeQjAOurvl1Apu6NS2oA/KW7ghzi60Mva5sqV29Rs9MrAJLjQ3LhCA/FRzcF5JVBBjgVQWjmngLFc5upbbGcBW9AXw6VSVadHGRw7N9yyMFfinTPGPQ45h5kKKMAdL7fhNaovd7EbCnymnZtMhnMa5vNB4+m8Ybwu+tFjYZJln0CXoF1XjyZDkdMEsZnSdsha6LngszlLQiI9O6NdwEArZv8Aag6NaMntqVADLgrm3a9IQt4H8JTG+sSshcVgDWEU3AnGH9RTn3kkEagHwKx7lVmz3nFELvJ9tvvnuYKBnvwTnIEL8awDa8B+6Te/FJYywRK2jIT1hzpOyYp0nuszlJKHaOvIsS/fB8CiL0KHWNCmsGs1DbdVq4vp1AUZRbWhIhJVM1mDQERKblFlTgj1dnutjAyxCciQSpAhQeZ/j3ODv8+/vghBiKDylx/Pq5faWtzlRI4espEJluhjHtcEp3p22CP5O9zPdbbeycNz+TJ3je0lbnMR/w6jApYtw+uEn+cZ6Uq1TfbPtvWK19mNdGUZqp5dGSQ0/zwsbA40eIwhEiCUxycvdWQBWtveo/GOllFcXsFFSbRRjrKxoPbnjLVPYYml4or+1xoI3pXfGEIOPQsKTE7aEUrfx8MmWqllvbik50Ll0iHkLk5zdLPB0YUBQDiuOK70Zhb07V8yeWjdZiz3HknUs6oxu6X5P+P42X8IUsJf3zNHg1IV2IzELemiLvHaEH1Bm5hZnr6Jh3OiL9H05AISixnYwOUnercnj51015J5+7rrIa6wUixyvZqzBa46yQvjN0OwsHiQ+AXzxpz7MYCXcK4XYW7UFXEHdelBLDKgogQqyOP3Lfp5zGj4jCM+DZY/fo76GfQrr0pkOzeg2Iv/5VlMmyC9H9CIkDBJoyWdWfU2ppWdtWmJetBzkPGU9rHktw91pszi7kEmiYoK0/+BKBGP7gCIzAb95qqYnWHGNquznpUt4T+Oyslkq/YHF+h7J300+d0vUFg7cxO2+wY5BDJ86sR8X4t07+RifXWD12VWxGP9a0v4oIOga0w7mkvWtXNWIiUNuS3wnvzRgJF/5xinMcNdB++ZNyHNvSqDArYtmNWr28PyXmyhxt5U0pJLa8TipuFanskMQgqZceBWoTCBHutKLtXi0nAvZwBb6sQUf/6fazt//pgA1FGX9U1Xwfo5YMM4vV8BQQ5PzF1/4A9UTLmZujXo9Yt2mNqCWeqBwHBbFf87dx8iHHj50olrmmPSCAOeetUUDjYY4twOKXkxp+IcU4G9P5O/K6R77Yy0xFp09MV64m7EhaCFLy7KduOCPTCyi4VawQ0DJ7S0u6uZSdTelJuNp5PZz8ns7uZA6xMiL5aXE2IkddJmrmYNujdY7IosOZJ7+vGB4Uz+yPEfEdobjK7GlpVccoc6mC9OB1Dv47ctwdsi/Eef/PtmZwX5+9HD8leVXlm3avNEuLPvCIUprGqnLTYTRFPwJdNq89okeVtEUNoyV+4KYv8EH79q0PEkDbIYZBZ1jte66wma2mO4uRNJ3BQq/uHFqmiSGnKAaq7YWthdyaPRAHIdLiWqkpNidEYMCwtNgsQhlEPzJ0OqhS2fMVJKJO6nOLCNlnoKUNlYhCymg3qg8svmaKJepfIqENl/x1ZKSMHrAR4XpJTiwnKJTvNkdn/o929gJLQMeEaK+xWDpnCrC8vjTCRMw/v6za49zAz0EEQPeglCe0q7bB01FYOfMC85qbIqwkJLYDQJZoM43SnIAsLGlg5iUL9nKkHafDOGZwihjQ8BdB+m8izUinVz1S5UxfMdEE89ifTH3PI1wZzr9jsaikYQ0r/68PQyUD8J7QfyhfIS7A/F4htTevMxfIdORM+EE4cLwwpxI0eBF59QYbK5h8bGdA7jo1mKGQKfVIMGk/ZxNluXpQBCMhigowaY9LSWk42D7Ugm6b2n+miZU/hzKgCsJWBGhEi65vUwJxRu2K6gO5+rP03KZMJL2TKHwLeqYys7O1sUIQf0jSdJrvr1RpJHLrVMHl51/c2iSJ8ViXp7bZkgPexHGFHhr8siJIK61Ld9H5AJzqF1cfP4dkxhV6VmrR2Cjjs/Noft6lZesT62+FIbLyL2xg7tABQVNilcxC+Baat2YOMO+sMG+5xPo+sHG0WfR8h8sd8CkHdNnDKxiSP5X9lL1s9eE9UsdoW7yf2GY3WR8Dh+ykvbdcVR6mlweDwT+XI/gpdqQv/d5rDgmcEqC6oJiQh/HzsewGnhyrCfndsR6BoMKjcTnulmJz1qsDFOs4NSXTmIOOi1vEKalx9eHOxl6z0yFWJKoDt77mcXUK7SJT+nY1vMRAReRKkRpFRkbIfKYFGwY/kbx6nuRGc4hV6FnnIv/P7RHtgqGKdP/jOHutbXsDluV5yGjex9AVJzPGNwZ/XJ0HNkRk5PjD3KIqCO2BQCxUTc8inPB6xif280g+5bfcx6SIwbyxwl1Ca8Ia8IDW34CczVjyVrYatDImFFObCBhmHQmhKJ/kgS5fye1PrVSYQIQQef3MOUedIzwX7Z3CK4DTj2JcOApYXNKRDxbLRgKamQW7ssSRSc0OPKYmD4kbzl+c0Xaj9lUEY3PsK7xBq4WAbW+a9u3WUmhHAPmnQRJ4SHZ9SYlGDGof0UpxQaGl87QCrmknh3BRL256CBaqeEwi+rWx6UGX80pCj2dXjhsObOUub7qdIQPkfRvGHTdp9PHUIcavRXDXU3NY/U5gRIFHt8H4MoHjZA2gEiz/sRLY3H37yKpXFNGNELXLBTwWURWIXqGHJlrTQhQe2N2vD3LYUbBfDWnjF/fVVE2JYWahWwg7mvmlze5uuUD//HVTjLAJ6o7FTQuJxMrDOWIhxqmMBxXEN73Sl6otGe/WyfgWPvlmfgbCGTr2pwCPgGDGzybRuHt5VgeU8c1kKDwR7vKm2+zMw3B2iU/k9U/KHvijJb7OEJaO8H9H6c6NDlAN3bDe7qNuKnDCy8daU3+OPivCAgL9CFg1fEw6IQNr76toCtUILI7sSGssCXn/chJGA7jz+lrPQcJA/EWx8aNqNibDvbnbp5aY7mpZ8j9mwclYNsbMJTAOs+urhC9qYyRz3Z0SO8rKTfjVEpt6Woxq9h6nt4H4ZIhXPyluTCBe07CuWU8YNgZI9aVoQiW2SQVmzQbi01H6ratK+/fKAWcg9QQDJdEbdj+cKZzqu8ErFfTQGRPv1/Qp9EZtbtn4/vOiytRD1CTKwLGOps2rreBOGbUeJvs89TBiv0jfpFl3peYnLVRmw3yJuDIFRZ6/s9sSNLVdcbxfa1P9+xZI3XwYkvbhyEYov+yxYFRS1s6l/ARvJl2O3PybPennP6pUBO+YfDeYugaZgk2V2Q0k+5q6unJMolUBfJFeQElfTczrs6FaRPxib+NdfYU4Sczxewfi0zXTrIB65n6SqOIgupd8mTS0aFwgIQ0yAIhjzOsrMsoF7E1QIEtLHis9csuuKnWR8Dp+uf46h+odoqXj/yN15/tt0+C9xHq/JyPDoYodErGFZ6Pb8u4EwpNdoglrAPabfZSHrSsf8ncyEOMBijfjyBhX8P3MXZkyRs6pH7kr31mHM0r5RU++yEQuLvNrT41OczwzUNkwJ4sSIuOtzEb9HV8qKbUA0lvvfLUqZpA8IGqk1+djtPjeq6hgkqmzqmZ5vMm8AwRryK8fWTLcUekvwYtpcUfsI2uEpdjZL6yxBTu+h3v2mtqHWiwtUIH1JCPBToxxhN+AeAHktkqBvY7Pwbl+OcbjI6FnOo4PtgnBR14NWKKbV7eUiIfDNzhIjzz4hnPay2yZb/WiZa8TvZXGonTHfFlOCp88KAtkk6q77PvJ8eEDcpiPaEntU5C26qC2m577G4L2LRr3/lm0E1HrwhqnWelmIGSjuKRA1GFbPb9DY0JZY7/J+YihPZk0EjSBK/Ntc6ZFFwqiVOwnmkbcZt/AjAW4SPQYZbN5b7r1imIVy3rOTM+ZAVjyFSS/H5Ux/t1jkJ/cdAlaTGqXSFcjnckUjcO8sSOLhGUAxAaTlyUUF9uVGug+AYSpFIk6PzQdxYYCxEzmh9jm8pjlUlpMiBCYLRNaQ8/U49LQV2P2WXIiWKXyQkNUA+YExRLdx2w/RMeqGBIh45XuNseJBz5SU1jAFAjwab3OYz1xwhsdD8DqftIlDHOe2AnueYGO89vlOuHhtcyyOYs+fUaweG2MuwkXdyenTNy+YlFzqG9I1H3Z42YHOggrfiboxNqndWLDjGVcrgINCmcE3LkLwlqrALxpxZO35cU9yJFl/a3tQQz/t3zcW5LF3+BnTiBAx/3JRmkMOLx2iQ/keOlLwm01++4acHoxr5Gg4UNDDOtJlMztvdsqTe2Kv5ako+c8PB2mo9EO1zlSe/BIpMcqbZA3WiyZ9MUr0opzrvWb+JdVL6Y5jNptMxof+ljJI54+B9GeAhT6t/2iaM7G8SwpeLRjxqZ3UhP56zKL443zX4aRHlyRzaDduZZ2XO/D9EKij97gusVQmKTJ6tIWOwIMbtcwiEoLMRs454y+AnIFpfeKUw9HvPDq/LKitCGE/4c+U/YrxjuMGb7ur30zZhKyc/KWMH9lealWbgYoGzKMKBKzHLTnX6ulVTYRMCcJVnhVB4FL3RQjSS6arGrFeLyIas7Tyur6JpuC5V46iMg+ZP3290W9JAekrQuf9w643emhBp/zOl/ZDaNKj8Y8d2X+Nq7gP0AgxaS1OC+7+XetzEqDIqP56TRiG5PmkzBgkGg2TXB0l+ZgdMcp2Le7W6dfiHi1dw2A9fddrmlQl9WMyruQXpoDeazFZ9no6xKegoDVb7FiqgyEJOH0hTsAf8SC3weJyOnMDF/F7BnGdBcbviCvzH59pRQ+dVAEVIOgoU63thBErolXQTJDGuV4Us5PEX9ZfactiPTaRgKGUEvDklMrLToC/I3g1XOkBmIXlFt+2DdHMHLuveC0naWVbX2/XEIQznXU7wifayBPUu96UQJIrZQBA/Sdz1jIOMJFy2gVscHh0MJ4mM9s+6KrXASV9W6sbw281vINyRt97yiktL+X8eFyfu/DFkGTa7NG8Muzk9FHpz6tmHSkUkIeWJDkV/4PLKpA2FWaqBPZMuwk7mfebu+JzWYQCtSRVuQo3F29eAI5onEhkhlvKesGBg27YWEDQ5KOPCzqLbOdq7wW8wen6EzsFLYsA+ogB0Viw7NADxn0WY44MM+kU8S1HxqA6fLtyEtaWDLtcJb85VbKQI+DBtV6krL1tynYKob5nFbpitUjqu4NunhkYB/TMCrhf+Ow83cuW1+akS2z95VrwDNbCHX82XP5xddo5vXQhjy//qUIh0zZ+TS80m9mPhfd8njaVasrM2kByfcnrJLLvxHikxkLWohroFRCOLmr6cKznR4VhVDOdheMNNxVI6HL7qErOqKJVfuTCTkmp6yAnvNja4Y4Rp8XaNdY3on0v46DS01AHvmrAPN0Gjfs6t9AYEVRYWuNuSIp6Ak6xQrrb1YNntvjSFNm5v8efrT6jlG9TdBuGlo3DZ+70pSrToaWOIJ/XiEb7SziOWYdRBkVOaj3fvhmvabIVFbVZk2gDpyFgsLlqG7a3BmBD93EP8P54Rq/wDaIlSRe8qz6qheDKiIyfMmJDB23r8QunwS1wrtAKPapAdA004PsS13u1Tw0JJObi7iGbcijBQJWlKAmoraWzVBNwSQYEczn0b9Q7evGT0BMOQ7ElRNEKTxaVyi+74UST1NxvwgoRWB2zWbe9DY7dMq4LxRvYBQ7Z/uBC8K1hCwidATX68Qv4EDCxnHUf5/Ug8UtjGJnbSps9HrL/WuwaLgmq8cLXArSqtideS/NlcLP1HUQFop+LUoJA+l9e9m8RqYA9JpAPK5P2w+1doyIo/gu1w967B5BdfWwaR1fhyPi+eY6zjBTd4gbyLp/lrs3/8ro2x4ChUkVlVeYFR/R5WA7Y0d+0ZTt2EmNWJLSGtkGFpz2cyYWheer4Co7dqFaPX2lQme+krEkW0ky9bE+shx5qLbWlQalftO/96XuYmGc8hom85+OM6hZNCiA0KLdJudADzMWaC2B/06rUmm88rbJl6+h7uTqJjKeVgKOX9Ivo7tA5d0dTi0yaTyQjAoBN31BOixXKPhiODR+6y90NftAsumMGtTf4lYQUaYTquAox5/MsoJmdDMU6XlCK64pOzvAubtK3qpoVwuSXc8JhwFuLQtWJQ7Xjawe8Ui5hyT97uCzh20sCLS0zj16DUTwy8y6hYGiCsmtcx7I1eI9Jd1S5nT0ODsDmI4JAejAH1WH8uaMpdzsY+ZPKdrc0aWeA+93zH7Dkpq7dBEaSijKjxopJAQ0OWTIqxmR/2lXrjenhqvNPqlRgp+oiBHep/eIakZab6nowQqvaropQIrxoQMj8tWm+fRJvZ7hLK4HLUalDvLcrehnwpRdAgkEHukhbqPL3z7ABU3u3UY8IJB9Ir/UUxSLiI7OfJelun+eP0WfOdEc7C99Qoq9bzGuvL4+MdUfyuLahTQGpLjYENnmtsrj/Dd3zKnCV1qH6aZjDyAS1wgTMC8wUKr85RhjqRbqqUAGoWp3XMvF4gGpnRA0h+mn6ODw2N10m2624AykXzLFga6ERV+6znRvTmdHaIJKQKCjKxnFDsZWqFQL4UgKy8te5cH5uKdRsSyelyhKKIDPCX2qWGq5gjkVx+8OSc7OThfT7dOpwbV6EkecJBV+N5W+FnW7DEj39jSJSppidwikKauAZaL7vSCHMmUAhqvyRW0+U2CbSJqhUB4+bOpozQBI1sfehoaHoQIK79hvmv9OyBq0ExkyUOdb1YhR1Vu1XnvS6acbGcyY70DOYTRqQ19FYwr5ZhEYEhBOqugEG3vzK8UBmvIOOpKyqJsxhOemKMGvAKMSL90emcA8xodUYyshHDmiXl5kUEJpFK/DGmbZmJwypHUPs4I5048q3XQfSzKYzjrNFGxHoEeVZ0vfxEd1LLSTSH1F6h8+a6nMBHV7boQwIq/RZxlitEjIJbW8wum1j7lIXRk9vwUmIyx0So0Q1Qrm48nVp33Lxj4t1DuVZ6Y0TrABdyyJ2iR7X+FwzeB0/aJb9Pr2uOdm8HlpAI7L8o5aPFAukY1MKK/BL2gFDx4bUcH+YrTEDhDWFNrTqU+L0EuB3XjSAjOyJ6+SvNmcS+JSQyzGvXSLHweh+CDyLDoIAUkU1EkwLbCOzw3Bg4MndjwA9jb9tVH6D5668dNkjeFlMY5n3aiNHFlfO2Q5Sc8HXgDWHKLwhdyVa/WViSsXnI6a6bMeeBDBIdWMritFq0R9JyqhKLQk3YiBq2F0/PgGuXSeRgh/x7iTGWV6/dcVF8PSQwS9Xm8zvHJO0Ll+4MFHw85PdG4eNgMJLYGBz/+ZkpqRbngHbdEhYk5JqBhgDYYF3MoafVrDn0g8qv1YFHy6x933Udy18+ZobDyvDK4c6dKYu7vcpcnsk2lQDgYhOn8n5qw11IqZe5JgFRLMI9NhLJcUw1hJ7TTiIxvsVgYrLsi49mIGKh+5lxr3GkVYPPU82uFKm3N1pTb5T1bIfXEgAfIHj3gMTGzFTT15mYqFM+tOc5xYHYlWLq4NAmmAXeLkQGg8wM7LJMqWHzPnyOmPMgWK886FjO/m9HTFZXIDnlnJWCyqtt/OUzblZeec1uC355awri4NPqkYGHDs4TgA2ORstHycqYOWoZ0nCr9hUrFyybTLUPkaYjKYUnL02Y33DONR1oSCxwWBbJdrZ7h0yLLgw/c/Vwl/yIwNWjU5SUXt6HHi0aDmIB2C0WtbYsbMh4H9m3j82sktDNQ3ZCD3T+eEkYA2tp9Vc2yzcRz1xqT/vPp2Dva+jhXzGXZZ0LGOIMBZiLUw8MzOpW8cgwcqUuCv0hAC+WE8EJKVWoIYHJPswNMMa6Fx7FkrTf9tUSBeTp7cjD1ZF2Ym+ntDpNd9vxf8V+yfAr+WJ9r5RrFURjxlPRkBNIeMGpQVMJmyvmEP6CPvJphIgneE6qaGswFuC+dXQQsEMJKKdwlAPx1BtX/pNtkah0KS4Ef2rNSROucHlMkYFrtjU34fleTPcw8XTrGMSGAcJ1pTr2aq4Pl5WLyphRtki9a+Om2sRuOzGj9N9Df81JvOan0mkUkL9KvZQojTTt4vIUr/9m8q3Q6liHk7lpIGczeDRfF6ruoVpp9kRdDbGq2G1tuQy86GV0q27Vi+3e12+53hx+VL5Fx1VnQPtMy2+zEQKgsYR6qIi2NqkMyMeXHHvzrPsQ5CNohmeK0MxQoWSzLS7cYbHUeK5EuIq6dYPrD/sIsSnSaBr9CE0vWMwVJDhnUg4MXzEmeBKwNHBjs21Mj0zB+ZMjWZ5aUTKfNtzj3XxFS/5mb61ugQSa4Ntb+fxtC59Ms/DRlo0MUbj2t1tmwbqdXuVBNCpyCM8cvcKVwGwtgDYwFp43h1aS+jdkcF1eVwJxBBBzo5MHpUiMnBAuqCnhwXIcY4ez8+clVbm/O3eXAwpuu2GWDf1TNpqnmlk+BheC32ELbrm1r8g83P24BkrMNKD5owh91977UmfwaoSQEuM05DEFrnINNmPviD6OAUTjKjQdkScQkPROskxsuWRktG+CmDy5wllRZ4HweQq/BDRa8hhZ14tH+koMta2JF2abz7DV+z2v26s87MwZd9DQO98KkqpL3Z+vSN1M6+X1mQTzTqk7q1C8RxyxwIhN17etLcTv1CJ5rIpCKObeeZliCLN/mf+K2Mq31JX1FRivr5DpOKKN0UCNHN9DBsHVSsOl/84VoXXS/x5duGKrqiJqnEuxwt+fhO732zjdza6o0gQrf7dglua4Mh2FgI2rSkyKsLrozca0RSpu4IcShAuv+V9lasy9mkd2LAbbE3MLtUX7OciaLwFp+44Tjokn9t+IkYmF1fjOf3XpCNzjUauYPIiJoOUrjM4FqH7Va07RIeK8gdPtbd3sdGPA8lj0L7I2xZu3IM0Rr7pQ6uALzX134xccZomQmBizA7aDoROUFerVEmjH1igtK12aDPAzHQq7VpVDdT/UF5Acyru+Kp34ZLA2B6r6nGR5QXk1yFYJyDnQXKg4hdLu60sM7vXo5Wlgdm456/um5DGzT3f6rSq3fXxlLkicvzirJ2lQfxescifg6TPsFRUeEqRD0tI4CE9HBe0+8I2AXc7dlkJAw7W/GdSY+gmCf8E8ZV0H6EXpTvYWKVj1chK87A7MqmF/sMOgGzqDrUaRUQqIGTkMzchNZhvsis0EKknVnRTtT5shKF20ekWje6RFnKe6jjdwlVQhTA+7a5UFZ0sYygN0NIF1/izz1fIv28jFjK32+F43TvMfPtGaqzme9s4aRMAPD2EHG2NDv7wuHLRc8jA7zQc2kDbnL4Se9Wjb5XDkY2fNkP3zJ67zaR8/doqlrF34F927r648o0waTKYdcHfVFru5mxAVFzAEwSofv2xHmpyXjrbnoEMDQtDsP/HMauDTMKcKYpzxiHzaGB/wu6RGfKJyM8bHjDhI53Hemwo5rwQsr8pZLlS4aa4z1tibTuezAMLPyQzJ7lOs/NF2SBXJTU9FU+T+ZWDkguZteUrSM/1lPGq8+xxiOWS80vTRO6CYt+tS+vjDX0ovN8VAo09ZPSDbp621qDKf7QSu2TfdV5dhyp70eXnasiPUCngpd5eJpK59KYKbpY/m0Bxqc/3Etlk3TS16ae2vvGQDoNrkNQnP76e8S1fl944ZiBtVQF7dlvUjwcc2i/T6y6xW89dB6Nty8x/wFBzWu0ZIfuCwSealH7HvDkHbL+sJbQ4RAjKkn6YmHRFzs9uP+gIwRLDHlxSkrqA/NSBu1ZUutKyw/eADMxgKjhtEeP9JRC0Cq6qwI7WB2wmSlkuiZH2eVUihywZatS/XO+k9UKbyfbBma3tEESBCbhLm7iVsJ8j06hFZ6E2NKNCM3f0PBMRYC8Z4+LLkSIfCoAnIwMo9Ea3lUdlVaa6wlI2nxyM0TaBk4BRYH0s0YwoFsrcQLyLF5YUtTs0Dp7fs8m+8HZZwazi9chqdHW685oFQqlaM1JqpspZYKW/YB1xIt9YV/OGu/2plgu1yglN5zH30kZqn8EN8tq7TTAg7uqTkjk82GwmVQui4wlyp+jK4nys2G2sbazumxYgeLgFF8i2LjEr+R5SWSoxiUxoi7Cg+ORZNAMGJetesPwlSfXMDfrSXPoXuodXoDebcF5upzuaiXrdGFKcWpfGVSZfWKc+rNZMTVyK2VaD2R3dB+Heqcp87RsvsLz2bqCWUkifSumVuXiFNqu7ZikSLE2tnz0xjXd/tUdhKidN6dqIf6voX9XHXxk7Omqc6sVwk8QL8sP0qwdUJBW2Xy0ZzMq10FPblM4hy6zzKod6pKbCdPG4VnKXJB+ZJO3HztzjuHwBAZFVJRIQAmpdfodD75VJsa1Aai+Q+UHA/GFBBftA3vI6aPPrhzhVRE8RPNUEdL3Pq5WgNuCHNY6Q8spr6NRnOs9dKYPhbahoCrKTFlVsEvvJlQpk8cNTc/66WPcj06NRIIhdHDHHyq0ooHeoKiIN7Dk86vhAl0UoC1EUzMhrmXwhTyDbRxurOsUH9dgjI+LGdG7E1FC7af6NyclqwA8ofNhPwa/+Rv2oYAZYk2lVjUdCVXzcmJ+6N4Eh6n2uFSEr8VvJZvSV1lkPVvGL5FXyrJf8On4fMJA62xWy18T44YNjfiKkAM9pe0+xFFCYRUkQc9pBoxysGcwZ33GZdTeugS1+OpsRg7by47YeXi03ClBIYy4gr4tpFaEROIcAlR2Y8e2I+a2KxJtHVJE6A4Df92tGWt4EdWgIVAkZhufISjE5eXNW6CZxCM1NETmK9Gqpev6jLd+z050AixlsOGC1EPgsjU8BicOdnqaVJRcNfG6Tg6SIJkbwmY+AejLvcP2nUeiksHk18pk7q9TAlug/lo1VFgolO4nZhjmIpaCbU/kUrwNxB0YC3YzWNTs9mlEAdVv1JxeSfWlxA2ICGQAQOH/FR8fQ6otmJ/ml6dJt35njM70eTCQL1BoKxP1A1osf5u1Exjq9IUnAdLgW1nTMCsUFohzruAIFNfCif6hOThU/oAKmOV1GwFMYM23QrTO2sUUAXrw83r4Qi5QDhzd0jWB/4tolfW7wm2CnwEu7aQg+//BuNU6qtTC/DUjSbZDeySHNmvbqiQJ/aNzJk+7/hUmArmOxdrsWv0tTDMrWO698VNZkRWFkm+kpvulR2Xn9Shx0sGAH+ScEVKDxbu09GwhpzSUsm+cLD/MYvbMhxxqotHzKOM/vl+RKRlkO74cNoDumwVT/19gmWGpNlIKeyfGFIF4oUhq7GNbqFVN5UvNXiibPaxgMO5xoNJ4RbY7SxD3ZlLQ2uwTJ4emzlDmZnAoE+ssMdwrsLinSTw4qZj6wyaAy8f47DafyCUG3GY8su+Ln9cpGXhC5cI6Kli1pCR9OxZpRRdTaKkt20LUgY5sTy5b74R7puYDQAvHr8K8xpxbKpF8BmOWOzzFWnkLL4pYvTSR+lRYwKy7cMExnoErsrGLLctoQWvSwH+3g3QMTpVB3aczpsaBKyj40cVvdCeTMoJRiBBuPtSVkJ8628dAPSZ3iH8+WqPxvUrcezn/hBWW7g0LRBAj1BDFunKGTSuDn+S1GAM41Hie4Ni3QkoAPihSzvt0UkDUIYGfHydKplKF6Hjl+u7ZOKQK5Hj56nb/frzz4W53QvEfkESNdH7ipmwnT4qhpuJJjsy8Ma+Erls2cp5m6WQr0iCzh1ZdPjdN97B+qAp9N6Ex3enFxEPVVAe6Rc9h3xiZ5QhxwrsO5CDVSAB7ThflmmPXoEpXyKvFKik3DDN9uZaCVNtlvztnROEQwuEl5Pyl8oofv5d3VmAjzb2eA6SgZWaTSr9FRLWICPJakdS9bwOWUKaFlf7WHcD2r7hmthAfdQOkRl7XHSP25EGDUQsfArhZBigKU8oHHFex8pcL5RGCNgIQzDXeLPKx2XlIgVs0vg14T6O1grgaLndXqsu7CiK/s8jHlt4TNK1sJCBtV7G1DHldPpB3hXglnuPjz3x8RcJK/jPExKTF2iOZ8cgvrXoAyaQjrvvY2IYGwi6S5byl+rH4pcrgP89JzVm52ExFBePTIEIn9EYzYYuLLrHKTa79Xg7r0h5FycwMD0UZMAruiAyOfYq8rpPe99UzcPZ4LfvZCY/nF2BZ8LDW7b/KVokaIiZosaG4rZyiWV5Nq+ryRlCUCmuyypn6pJ2pRCP+WF4ko5nSF7HGapQsRK1NreaigIeROuLVFDmimLhHBxjUpkKzTTPCI3uO65rLgQ8KJuOTRi9ftvUKILWT1c7Hl4yBAP4s6xJ5L94A3TcogAeZzPCzZLDjwVMKlUumnzoc0/v9Zng/b42ISWKsoZ0i2lxRz3yzWjHXvhsp8G1bMcAw51EN6NwXk0WKCN3yTGDVOYS9Wl9hqL+q3ciWN/xwv+jOrqTvjtLeqr46WhhkwB+O3KlUT1hJKzJEpqz0seRiGc3tGNXKzJ9i9ACCcxa3G1sijoMLnMNFNPyANIhswRaxgjQ6V99azCPhIMXu0scXiSt1Ds6PkEcoqMO7RDKrU+c0iHZvrMidCLCepT23WOCa+ZfmmAroPpn1fEDb7SDzCy4nkgnvXb4wHcXkMiuaxtJAD5DQQe02BkjxY8nsg1ZqkkO89+pV0HDqfGd46RiuUV3nDVzqID+m+pH1t2ICzArLBj2KUOQFvFnJn8RXO3Z5twp/uxMTAoyE7b/I8Yqo6ohQKs0MPMJ6PMpgqiAVJ9o/872+AwxltJPfDSyD8hu14V8fc4SKzyVDoPTLUCrj5smAUV7tcJ0o1CzpP9cWhO2ui/evDX2/bYIfwttvtYsg7iWRsV2/s9V6+82YWBTfNjcPvjmklbDADEY+hMEWRRORo+f0yrUSoi8LVvKgsJC7FxOYWld4Owy4RA4EvVCdACtAncjeFYghjHhE/kp8YcBuuBeMr7OQOS4B4cAv9aXcyei13EjWOFSb/OZ+pSi1SWtb6aZ7C4+PErt3+hddKWwrFMOfOSb1fRfj44tSO2aKvfHZvAnMRmWHGFi//l00two9UbQP8Fv5PsIREBZclxiH5OHuQCaUtYHR8t7Ht5kxa3RPuLHD9YzerHq9re0MYw74xUd4zVA7oL8+s1b2i33zb+OQWBuB8HUsQg3sOAKjbWNCtcbEhviZhRq5n5MHfiWURrGZF8X9LT46H+E83mO8R99oVzzsFPGbJgyiSYK9uS0jjkDHxjgDVEAeQhnJiVNWyhHA1FugXMpNONPge9STzJc2kOsfopVXOHJdBOl5CvaWwTlBn4i53DGm2PJEevEvYFRD/Wjavr9efD4jiKnZ1r7MI8GyCa/nMmdwHGq4iYIa9xZ8bjobE/CBmMd2vCFPv60zYl7apldiX2xUYZuU0RB8A9nzP+NTPmGGQoXrBASkHSWKXUvFar3Zwd3M2EZ9Rtcp6ESBCI9Qfv3KFBJq6luQ1ynJQBoz/mELtAj2BMbilYJosR0cx7L6KDdANDXpyEnbiJNkFz9hpHQfYW6M76MfQmoI9v3i8uDP6bbfVlDZdl/6AkjYNTTayAKgeGky1mdJ0xsoNhbwInHaihY0ofZKPHhTrril1dFzHR9k0dEQAGAdUXjTgAPjPrNkPWDggsBhu94MUInB3Y3uozdAp65IjDYBe8lDgGb0mah2yIcn5M7qtaB54TCymJgjgn7rOgEQA4tn6CUypXBnVP+1EDv++RD7QD92wiyxaZcFsEJm1nAPvjZL28UPNxWlJQdZUDX35dMw9qPzTiZv0M4vg4XTI14vY3Q/+f27TuacSxniisdhW17kElV/aGLm9CjzYeS2Rdavm3Q2s8Ah9AlYygwphCBsBoml3+RmzdDj5lGZrfjLlkj5L8BQTCdy567o/Pu4+Ura2NCC1rUloktI4QuxH2UVyLgWTCyFY4FoPLm8aTeD7uy1QZ6MwbvHEFYs+WVy2Sh8037qzDh1cew1JSBMBkjZGQMo9WS0STFdw5BXi5wLh5B4sk/VHc7YtU9b0OPwc+c1tF2gqesjl5zjxAyNdfobEau7ZVKzCr05YfX3ahBwkLP/tzj4nQXH8WcQ3fnnSU6vIf+P6rAxHxWELkCthi1WCDK4siekogK/85sRkjVBtGM1S91RwJ0doavKl5nyyoUAXA/fxjxuRpWnw3Qv1+SENKTe+H+ti4ylMviszb0RaMJ94KJ3FwwWYDhABF/tr1RpF0ipHVyTgzAFXgjv98XKaIUGdXXCo+iJ3A2XYjxnJN3HeM+UjAgYRKTIDf5z2xPBYeYjMc4aZ1Hxq2+nC3yJU0cjNpR0CLGCEzWACxMBAQ/SNnjwYjemZbI0B1IP35s2QPyNfuJ0z6bCkbd2jy1LWBGGwKZY8tCjGkizmnZusySDUxzTPTrd+OYhuwNbKX375OjSAKf5YHnH6ELkragaxSJqtPbcXdEgBXK4hL6W81oRhJqPWvtRgRww9ZUnD5WYVNMKCwZ6/NJpwZ17H3FKX5wwuQn+ofqdjMK/PvXUWEGa1rxiKksfcpdnLyortNlh1wKINPOgRAgFSlCJh2X2w4TDC8Nrpz+9wWsdNNqzEWVCqSY4P1eruKbZ47QvJw9GYSfhpJb0uAbWSWT9u97bPhfZQfGU3hqfHbvsv9LJXZ6e7dpomcJRXhb4XiYABLBL65lfXjSQ382gxIzXPvnhGCZAzeFVnjhZCIuZFzRwa66hF8x8wwJx4+qHlMl+Q3V6WX4YmM/vlGGfwWQrfppNGwCHX/AqAMYcFJ4rVkB1B7cEEQZVQhIreUNsgobt5e+uRxOreX6POYEeoZB1PUscbItAWa2s9NVcBoWNEhCOSqO6ZTJG6l20P3dXYmIvdxBSsUWq3BfTWdUS44jdBeXHWmQwAjuTZwcdxIe5pEylMG6b3Cy6QPxBkdQXGJKSFKQmkmnH69vzw3hcQY/XEcJPEvkXSxeFcmM5Rxz+DRpmIgdcclExe75BQVOC5af+IizULrZTUoPXw3RSswLQ+uPRPJIlbQ5USvbZk2aLHZCs0QcUvtRu89hrtxGGFzDNo9N6p5ZkIue4+Fe66+IH1EuBOhCb4XfWTiNGIaQQw/YAtj1jLT2LJVVCdBN65IzThkDloL3y6vZ8rW48UZziLckj2ytWtSpk/H5vx7MSOoxwUsNAC58cWC/++SoRSdN6mFQQKcqt27dzahd2MMF71KzVxisAIrdEoMVcgf4U+5Xw6Pd45wSJstIHCqld0zR/wRzZuas1sUx1nOPxW7wonTQ0QH2hgWiaJL1xq/XBaI9gJg1TrXff5whCQkv9aoQMfD3XA5llZl8rizjUbvwU76TdI3ySBT0bx7jWIeesz3oAvC3KmauxUsmCq9ZpPRiwveIF8PxWqsJ4mXTNnfi8GHtrPJdrRWs5TMvPjGQz7MzvOPaltvWhxngaBniOHnCQ0OKze4aSm5ifhIrhdxAPfqm/zwR9hBo1Ca1Riawt1TV7D48Mx4ar2N0eFHoENNRGdTwAQFQWLrPpVe/Ska0CGKvWWub9PR7fFzoP2BxdQCGVLIIR+9ihDMR0cOeF7xYQCmdinfa4AvUKUeKssmBNRXmb54pWGY+maYYxc30XVy4vXcl2CRPLeL3vAcE7yZJiNb0STkw1lWCx8JnfEIikOK5gxu4BtFZrccSjJge9EU2SGNbKzbXhPNlYMUtuAqHRQ/EEWd+eRldAU0JZf7LfVKrPSbDkwHk5euYuRAybaEXZVMfupfLzGOm49gyrx0FiQxKEVQZWJP9m770p6NOHC8h0fZZrZ6Z9QfF4xRaKPl/vemNzmDjJ7f+kIHHagEAw1BFv/bIAy/yyJn/zv+LCe3Oj/9lOh1dOESUfu5wdizBk0pXkJk92QoUj8ke0HxpcV2Uick4OkJ9FXSgEG49FoaR9Gj8hcOobwp2tmBgaW6GClctLbxOlptGZ/Yr/utWLjE/yV2nzf5o4wiuubL1CL/a6ZV2xS/DGHJMVLomxbnCCEjECzYNLxg8LZmZjrM51TBl0DIp7uyf1eaX1gd8kdDx1UIzeF38xRi3m0VQk9MnnCjiRUMLCmyj1q7i8BEYQ8hs0o1SMbFR/vEm5lLHhsQo3ZXlgJq/dWGuzKVFrs5aBNSDq/xYB5BV1uaJpWSFDkFR4AnaYys7/InC2ZxFCPkYTR6fpb4GcvYsXXt/8sTtlvi953suVnLwjLG0jNE2/WCbOkbSNcgB07mhb0lGrfjs/YCT48c1BYINaFWpLmZKuN1BNYPQwcZAFlhbW8JaP+g89cubzIQA69xndZcg5d5nIMiuogpW2pN5g0EV22x6oP9Us0sNhOsUSdeYgWP+FQYOvQIEA8bcKfQcuBKLniisHNOPFapKl3pFf9uDYQMfT+a8juXYBfkTPAGm6K2ZICve3cTYw/yX8lXP5SUXUq/l66I4iecEQcz63zK9RhHtPenGFGShRifcjpWNqt1Erchb9jpY1daFrScr+DaBO98mJ0CmFlD6w6VlpLY+2ZsGj9pzwe9s9Lmz/V7NWesXKI+jH7lcQfi9PniHnHTbaes9T1Xs0Ejq7JfWpLgpNK2acny2wJgA0oBVaZmLVOwS8Rfvm0BayTktw9nJubGTtdJiCjyD72hRfd18SYH5vkTgHfwBPdKou2e9X+5m4CK1oear+WpziWqUdZPWfY3B1BYDy6kgMwPIoj0PpreabsmJWH2NeE+uJREA5P6x5lNq7+ec0D5zcQEBm94wKGpFsENGxqA25fjEjn+txVtp/8ESPXM/geYrSEymzAultMyh0FUS7i2Kn4m5OCMMtIkeurHKsVFPOPV3rHTRoXfHWPbTe/1sh48ID+baaeqZxqBwmk5CXAyKnvqsrPvX4IWgiqw+XVD8w7BFEEbECTKZ0ljvxz8kXrOgcVdNTW1Sw6J3Tyt0lCihFyQQF3DYwRkdev7nwOv8sxuiVSLHV6vFJuG/r8KcIbrpKYI+c91XVRfBJX6XJayWntx5WgLAeZma8gnYpSTcIhRFFLRqHrtaYLsQefrdBlnR56GVOqzZOrucIgr1Xc7nJQvigFwkAaQqt9RwWUW0rbMfm8IJeS+f1Kxyrq2lHSWrNh/uL6CYKz8oFB2VfVd6VDOqPASz1o6cb7nKHBsBO0UfJ3DzqlYQXagEKd/R4HQ11bAVUTtqDjqEpnCWFpksyi51NIyTmKSaygtaKVzw+KuFwOGNVTbGyOPhpFhYBTbyyYM7uy9xXXzRTU+pdr63rT9lWqOOz8nrPXqvwXq2tF5kgmPCNqLLpiFO1EUAXR/bESuL8LAilzKQRUzjgO06Hp7i6FwmhY5z6m3bFAKCkUmAibho35lfAHMCntb5SJa20XiITdTi07flNiDr/NSzAXWVfA2/goZg8o9ToGrAaJVPWQBOCdKgSuTRx7CivWn5Q1Y/CG8vSDoK9s6OZJX0wzAm+EOeAtfjE3ud9gYnUIqo+smkW7nkQ4c18ZKpRPCsltlwFr0xJlrquk+r7Za1g4FTC5bfPq8vsH3HN/AEXFomfQ8Q+SP8Gmf9BFgKMwzY8I6J9cA9RzYu8a5pbNb9zfiev6gryE/8mLBwRcPYvI26b3hC2MIwesvpLcVAKNn3Sa9giPHkGZYC+0LiFb1zehtQ3zHxmWYW5oqVJWsAqNSDn9UVZScIQFFCwMeXMu7Fs2o7Mk+K7Nf+7oXjAnO1TyRuxv5LrNJ4gaNIZ7SJqeUbWNJAr/xNmTrvBT+7GZGgQS8oskOTJiNUIZ8QvJKrz2axGi4lGge3uyPOjROJHNDshb/ULWT/bbwA1wMS4fFF5L8ixBtzsKMfYKS0tzQWZth9M+yvPHtGLQIYTFlUAcxpguyeO35HP3Bch/MAATa5kyF0jxTvBjPKoSuDJWwAdtq6Dg1PS8zOFHKUpmTL2x1paxRlxHaKHY2YJGN4D0lHT3280uY5U8CLc+eaaBnCQGrS4gIoo4yby9BtWZi/X6BxYAMC6s4L9HV0lzseQ0B3xB37fQz9oM3bgkUOBja2IRZo803N4fX3ejIVG9qN66h1wie5R7jrvGX746cfjnT3Eaga9VRdpC/vG/3KCT6hMoHVlrb91W/orsA3xmuPjYfHG5cD4D5Zf+r16TA//Z4jk2p4bT6Ju7SOZS/g5SuxyqemAn+gL38kmu/gX8MFxNwMvnE9zLs6psbLWlnBFm4AMD+qvZILawUmOm/7P4SgHnQjQuSbxcT8fLyxKMZyBGNWZQ8Bu3jJSD+e+529uyoA3SjLeDErdV+K+EthUVo5XO7osI+A8Wh/bfbpC+gkjcQtJfuTJmmfBXQ79tPEhxrjll+EFhFTIFzM5cxYrqcva7o97ZhSVcXUIGS9p5N02UD40Yt6iWmgcEnCdnV9w/4W29xKfZKz5ocnOEjb3gc4VTPb0jSevYNnRi/fIs0jCHK4ISybkr+roajgbrC/nK26/i+L/L0/s10oZhwixmvVLlMqTR3Z7aIxG8u8UjySWBFn/DgBXJAvKNRIWpdy+qJaILGaao3XkayFszn0pd/DyxDjuyIG/lvb4Ph3nGxN2WJjqu8FEr+9BMSpZ6RPlP2yXYhTkEcMc8sjblsNsCKSawoT+pFfQ5OqlUEpOD7e+zvHnXk2ivzYweWVSj4HvIjxM4DYQEuMlDqdlbt7aio6OdgREdWPHFi6llpirO9mDuSFu/SIIPMzXnZo2PNFeoMsJQE4HBhxAnu9HKb1NLh1xvg5tRfDeb1dOPoZSFMXmq0i3Er+DtfjWb4bbP68CBoMPgkRIge6msQinGdZse+FdB1zXIJnU9dE00Wf3MYYd+FDOQ45s2+ZAU9P906ESyLUGfiq9f8Q8QyuVWF8tpgSfE51Mf6VHqKr5EC72oep5u18Zk7duX/Ted3tlrr5Bz+VXyFerHr06Q9JGA1yvf2BMMLXacYyZ0DUhENxhemYMLm02c+Zo+/Y64ggQ8x60ovV6Br7RJXggeJ8JtcSTtA8MAts4e0N51B/hAQftitM8RyJfH3yFstAizifeK2xvCwXxNPbeQEl0tCdH6T8m0buw5ChZprj/kVtG5iDxkWWlhV1tO1b4SghmS2QzqMnsVyFf0GEIYjF4bJ7Pp0PxoQc896nAniUw3Sce3DI4v6qhC6lowzmgJaY2NXeu7Szpgu5NsCHUPD6yyuiP/5eCnYqEPlPLyGOyQzePK0Ir+rJy11Exi10nBe40DRE9HI/gjghwGTwu772Xs3rElL4vs2J2ZsP98OpV2W0ENcA0uYYoW/6vEI0cTiEx+Oh9jT2u/3sni/FBLaLeIybm31jNkCgM9agL9H5Pe5MObNt5b07PiZy/vwI1Liua5DH6uEMf07DHwiMJmlqArMTmZHAx7mSE7KFeoH32sAQ/OyuhLbRVkB422QlJGjaKJ9Traf9jWavVLzMy/G0u8IJROOrTwWT49MdEoTMjBZbNhj6XFGrN5ZfPgGjkNRfMezlDxOZEdhD0Dc33mRYRV3wjtnNIgCakq04ynZKz2NL4tsc0CnUh14i6AxEFEf0kUfX3zeC64lbnDdWH8n4C+uoOG8cHWuyVoqctTDkh6//nl32n58ndce+18d9zNndMPGtl+Lrs2/k/7Ql1lWTEqXVZvDHOyQi0i1v7CCJoqxwaDZJOv/64W3kN86Yi6NEVecO835ERjTSFyTeu1zZ36zg6M63jvyHhay8WaCx8z2LAoFqxZyJsqBcWjteK42i+gpHfkjraxnPWNGBNmnyMkDZVkzKltPTBnyNXE55dRfBp+aJEfPpfJnyCGy4BP4DjgEWRM8iFdpwTIzJyUrE/KdtDiMPwmSJhiO9qVNxxl//H/rLpFxijqr3fKJkN+t5AGlcGjZuIySt8/4oaUlvO+hkqKSr74Mvj7YmraONSoON0pI8qvtZIY7OveqlwAGdccTuWEvF0B2dyQmSqFP5G61mnLnSTq6lOGGilnEymun99Wnx2DUAjdf0s1aXHfd6TU30oHPiei1mCE9it3iSoFjaARF99Pc3s0WBlmuosDTEqnBNdWOtRIA4lujMtwfFHq5bfsFVu84dQY4ZYCGjZX9XX42ipzASiSIQxhYvMwHfexwuaPxwPf4ujeWTlcsV8aFso1ks9lCS5E888/QCKgb6KSDTFxoA+orYQ4p7fhu69gKo+bh7gwi1vayhtEvo7UHGtv9ifEnSeDzW5NLSDSjNg8eVbT4sOR6dL8jCjf16mC9Kic2wWsiZya+kC8tqJzwfhe+NqTpK40nHHcCz6a/a4d6cqg1sO+w14+3Qrf5Cg0R03qoPSSDkayg/XDSOnbSkaZH27gVnbH8ZO6HyDYXX7FDWShBup/aNPEvVJMLEyk+wU/OxpmsaJ+SO+D/oYFdRvx2FWTjqu7zokunIoIkyH6xwtcAwZ+Hq3l2rGNWuaa3xfaBxSTqPrXYndrU9bmzcEjR9PVYfH641Tp4VT4cW29aTm0qWi2TVOvhR3WqZHfEK7bsWdIRDQQC3mKOiuHz/am8CuwxORqVgmzB51g8/3RUxbFpjP1eqkNT2L4pOgnMWRGphED/1aatmblfQl71rGvIMehVtTMYpzvdj/GTcScnFaEplHkTj0ULgU58wzFynahXEXLeLRM+P8T0D58mlIbqoltujiHj8+VEOPqnKtmj5VlmWitCCNV7ZrrcirKgDnHUTkWFg5C4XczpaUKD6s6LMsxUl/Pa1zXcHwo6vlpZKTd0b3J0vsxWt1RN91BiGVk0NkvDw3SNDXR36fRRW6fDuA2rhDq1UJ7qU1xEfPyFCJ4MLGe2k3kF46UzS9XiFDissrTvq9f9AiG56iFOJip94uDmo8JPVB8FtT3Z0HpdF8vOq/b3hZOSn65N8iFSUaTvYm3UjSe2ekc+QxYakmv/zuVJyu2fZFvR9HkXty4uSSfd4WbJ9CD8xGMNa93P5lN4cbmJdUPrGvGNUoJxsoE5f6MK8lPZNgp76gu5m3Eh5Nf6R1VLcvbt3LS8ziGFznkAPb2TWVzxXPAgFlyq+qG0CVl0J9ibz1TMAMd1xPROHOAVWQ+df2UVVgRB4dVNMvXfh1NNyq5LP9XZ2oOTP65nvOK+Q2iKTLNfCk0FQPX171re5lXMcNKLjpffskmHVUPokaMY0FRKxsoe5BhUB2w2W9jclpoSJVvW+Ch0DBai4564YG6XhCOqOXkVzYr7ZB7TWXpu0G5tg40LoPDG+51UWPYPZ2ANeJXfopfiSbJqaH8CZxmVink7LWV2c5vqEmduea45cE1wif+Do4txabcp8THzr6hHIhef38HSfnSyJq3zAFmDItc2vC2wJJvBcbO6dNQ1U5VPwiW3I63jGApXyby8ExRevbPEtRj6eJ/ta2q/pWkaMbyNu9Ko0UELLm+Bk+If7nw8Z1Xd2QuKfb94zqWJT0lNEj945PVDgV18jX3p8MulsvvCJKHorH6LBucB7pHQlWfu6ytYlJ+RSjV5Cg+Lb1JrH3yhdALEEE97Aoua2EZUFqcy/GXCZDirVZRBmSCcPlMgRuexndasQyZ/uJGHgT7/QpNE8yenVIF3yDfiVKpB/q2cfmOYUjYwak3uDrvaW7QpROQAbjzQPU3CUckLQfO5Ofq8hNaY54EWaO00T/eOonGVXNGfJ/AA82O6sQms/1H9E8La7P8vEaNRPNIVzHzWu7tJ1PH4DM1YydjS7WvqpG91cuiAhJ7Iq/mhei2HBek/WU8mY4Bg3L/GFaYBe6nF8ByMIHm9xxIiUOSDD2nCv6EfpUvYWZ++aURYGVmA1PIKGopLENb7np6byz5/ln7u7oblRog2OXAPMEByzTiqDlhE5RJQbNOuNVFdvzwnsHz0NFYsu6tD0hEqo/ktNCd1OSKF8VnJ8TBBvaWDR6OW4VVaGAmgv3ZAWZzUrVxuPF+uKluhCA4MUTWWSjcyZBAC24EGT6nUl8F4FBex2h7md3YOChGGX28tsn8YW7YxuiQuYxcONBKaaA+G4NVEsHAdjo/+p0gT+GBFZq/40VAeffK0KICDquRSENjUolLLzurRvYDzPiEmIdnw19xR+etUkil2gQ0dzh6wkBs9KxZ3duMaNoTr/EMnGhhzdfDXuwcsPA3/YXiDZnwZAhyPShGYo4nTR5+jRUd1O/4FiFja+Hc0XWn2yaAC5SkiCCrbq/foUqRhSsxUs3NWXgkp1/W3M4XxTJ9+Owi5ShEEH+bYksvFc/TvMnEYXL0wDs9UO2Afi4Vlg+zSh68KABwhn6gGSDl8i0A03mT72U8vgcWSEnx2mrlBjFZYrVQ0tH4S/ySRopQ2lLFnZDgYyl+SWgK64/4kMLVlpC9jb4x+pqyiOSJmCJDjZp7osJ3Kr3g8yMMcLhzQiWw7VcVYwRBq8cRC3E6zK2zC33AG6vSQyk/Oon3dU/VstVmpnT1qVPHtwMw8s6jBAO+lUwo2oBQIXjjZjm/3eCRLB7I0kqRV1+jZfNsLdZJTiuVZy7y5fsUWDbCe8caXvNZWVTZcT7HoVxw9E3m5VATvXkl9SAODJ5f4Ex3HPa3c+ikGRRGtsftrKT3g06603JgUC8rysFDx62M6QfqKM91xCbfPI3Sl+foGfc+w7jWmvrnhiIC4s8I4DoIHz5r8ypfvQ2tEMd4jp5Eg5zNNFB3Bei0HZ5WK+BpP11rcjPTnkMt7xTAXrZPTl4wnFed1LC489uqmv4lZ+JUAc9S5J/YfJxlvFQ1ktzOv4rlJaRF4cvFjj46oSeilM7l586Kfu4sAORGVdtTjkBCc9V5KGlAmeZddGO0Tr/hLRAl/B3j0GPt2ZwoYkuLGThJBMa+JNqtqGF+ntvrqSI3HhMsnnsV+To+qH/ES52WCbGwRu6wha49M6p/jFboFwYjpksAAvCT4fZpY5LvoprU4ckqZ6QJG2BG8j4q9XQxxuGT4Hf8EWJ1pS2xufSX3p93iy07owjokAVXfUDe3RsIUdBTXKHmlb0CDUWXQlrsshpI5n4BZENkpQNiUmGC/0ogec5Ty1Zn6bhEZlUxuXA6DikG2fghXGQW8Bp1mCVQgrth4b3Jex4PvzKeAOEy81eTULX4Hnh2zZ46cX9ddK60/2MUtGE8za3q0xlc/hXfv4SAVbTj37xnbwP2CXEZMvSJ1Wczd7rmjsqlpE4Ktm2N/mQ5ntDdH0Kx/nu4X+jiv5askWT8malsMICZVJtmQu5j+X067VFurDAzvTMYvRugDZrdzKvoKGc7eRhNeRx+2tmi+9KJpjvKuNhlZ+/etdXySUxbDUVtEPwzSxKBo5Pxo4Tq0zdruHOe0D30epqaH1++lV2CNlUwRp1uvcg1DprU8bxA1oRqpfGlAIrcJgbgcg904FYgZVD6MX/Ghdc1rQPqej+R7uqDbONgJIJjfVp6j+GRINCCjG97IbR+d5ZjuyDiREckKwj/E171u8QZZR0oJrMmjWOD64GaRRolQEKhzI3pk0V6ps8aYAYIezXzlWtsi8tK3fN5AAuU4uuwS/CswsNFjTx/2TVF1UVvtSiquaQxr5ezhcsp3CQM7lEsClTY4ul6lVeqirLDylBjow72TRI1ltjDCigzM/Xr4ZWwgv8jxZT3LouOvmwEhK1S3TFUfrC+vk7ueA8QbKwUtLUqt4LSlKP+XBSOj/TBQdKa+gswKeibTnTIZFjGr9DUgj1oWf4pLA73YSQJnyhytKIl7OYsRV5lv9E7S3uqAFGGCIC6SAsMIxERxaeGPbWhWHx3vsZSZRRU6WVOUiGnSDCCAtSLqFUfck9dkGfNpkj3xjdYAOeia0eHPeZx46BFPDiPY8xoD3wMEtZSwRFdnERCbV1GHU+y5bJPtyHdBC+L4twI0mnTJHszebbIitkFACx/C90+mCTzuUtXWEia0UBRzqpSxVKyVdhkYIxLNTNfr81NXpuejGoAS0Em3ITxEP10hR5YxWRknHaZJ2qiIgC4CQ3xALwyW6HdXlTH/TMnlrhu2Lzb9h2p5MKhs9jGJzlvJ8Uu+s7c2md0UgiQlZ7045J/l3p6otMwuLPC8BpwcyUqvT+JKOtLOwGNvKc9eVdBi8/Frvel9cx2yE4hzYoxtGDSZ3MMDfQMciMBBLf9VJGLPFGqGXLPiPEOlCPobbtsWb6pTP4C8bAz5zgA+8Pb8N2e5d42YtOMl6lEPP5VJsSp/KN651BT+u+1hlLzdQWZ03K81UVg/CqNnS7Gp1yrc53WokPgLsxCuLirj8B+FyfNg8JGdmCRhfWeo+7TgzBrjoMrwzaakykzhhp2+xcv10sJd8VXAl1ApfhPw6RTU4qd6Wopq9fEhNFuNrTM/HSKGNGxUh7ZGFfMyx7PuhLZ5eBl3QPMQFDn6GVl/R9tzvL4DabSmnfHjxJH0IOw5Jy/FlqC7ks/rfQZarFv3Z/ZetYZOIjmoVspkdoq4LhzGLqYbwv/OB2fKyY9zPQTVJxuj5dRBD8TjdYKP53bTBf2kkzt1T8K5lMgPBsxoLA7MNY0Z4gcdkilrgOQCc51HQGwWg37wcBimVR7HXyrjA1qBrPuH78pVJRYSX0QebnIfBOY7YKRJm2rWI9Zdam/bwp4mzFS2DpL2d94JNxHLFcqL2IbA38uuwGeExBPQq4g2dxXv/nzQx538BazTcgo5Ql3RcfJe5AZ/6rmL9l8lKoxY1L8YCy6Sk/q920CeCyJKBB45TTjs3+WgSrVrBxWMRIxffM8LJCnmRYBJgQ2ldYm25Ou8Nzs/COOdm4d2okRBHI1F8riyBzYIj7v3X+zuclKuaAKomA/TUouaR4qOvnUdXh1bCVX088e/nceh4IEcVqX8nVdQuo7WUMdUCKtCO1SiKD2rjOTGPwqnLMByHnVBoNTZoY4O2y6f24DhVntDntlYzG+5L9V/hWTSFkotT1xfHeDQvqDW4dZZi7sIsaFUzE1xj5su7KdRkez1vPFCzPYTWpINzYhpNarxltlzHs3R4k3vICPUT814c0SUtQTrRi2venDc4TU1beE2Lgcice397cq1TLbNJPEj/gNDFOL3rw28tgHzrkJ0XD8VCfrwutIjf+qgYL8XwEj3ZicAoLsW9UkWFQspSTxfk5eRkqUTNY2E4qXKVEaoeG+uUuaRiXVNXcVJTf/NztS78mnBfCBGiliJewkWQY8I9Ty9NW/te6owpx5KKKYaiFSPqgUC2lonASwllx88/iFG+oCYqTmiGOmxUlqhLobEFRl8jXw3ddQk0VzL7+kl9sH+VeaS7syYm7NCGBRrRj7efK3kpYgscxEEMGj1azSvITp9dcvHfn8epPhPlhgxbzj/aQpVcB/y4HkoLQ5RPyWPRbMUP+z0PpZgVDxEPbgGukS8K+robKhw8cpvQ8bn8DrrKplo2ODZeXDiJbUpQ1hWtSjVs0UTJ8LHasqCNIscKiaC8yqgrURCqeHAkarEbJsvwV7iBNBkmD3FcvllAvU0hgb+5j+D5Qhyiu7ZBcx4hNnjD8i4tXrt4UJ+P4kVmb7IoZ+UXqHYVsZwcM0RRTra6RkBcUHgv0ohoNousLrRFgwkz9DvT2bSKNo9aQjsvsTXqIUvEiLxhU1BYIFCGkncZMgBT6WuLyJ2cwEQ10IiWLkNya2thFPuY1YrMFWcfsAoCQdWaoo2xxUY/auf9J5GjwpIuF3GFhAjBuZoALE8ATF/PPrlUFKPZc5WVrwMAOOUXwiaTrvzwG7l+2jc/8UjEXRjwjSae//9dPkLI2rO9GsPglBzGEcjfYNIJRBdOrDv5kLPe+SgLGzOz/2jeKt/VOgAvk5xOOqKoXj+KfWfBMuKFK0uYvAEPtaziST58Bt+LPyphvAZujMMRaXY/4RvswMN5Ec8RZvkVsIU0+RZuqNSIFAOzlWBsmHNzC9L67rCMxlisPEXtOCklJ4SY5s5yXKv+xiWH0EmCSYF6fj8zzC4XbNm3o2HUf2uqlG7eBAhpSGZmFRdPnNvsKV0vajVLwhxzb16vQLTAdnr8EM0gx4x+INwBxEJ2zjBQIY32mmjavTl3Dv2Z6fSMp6yOEw7d2PQOGDzW3f7CBwbie8a3/p29oYsSY3NdPigMJpUCx2y+3vJrm+HsaZIfQ/HzlxvJ+4SdF8JJrHT40VnVSGC6EIYN4B1+b4winuYyUUEmoRWP6j2rxJM4YB+4Xxu9FetvA1MkrR8RjDEelsL7145Npvjhj1HoEW4NClkPT/sIpZN+Lugr4cNvW8dXB/JIwT/YA6EI1l3iVrOHGnE4FXtMPlk0+X3HMUh1+Rtn9SJTSCkj8i9sJZ4F8tdqrWOmzJw5E+QjCePS3zsOKYaXjOVs0vuOdtffzqy7S5gvcX5Y+mox42m2+fAZPu+tRlcXnfNAbykj07hIb5i3SB1UAyAyaQpKirKLwGEIdglKPAxy/h3krtGmQ0FXYc3pQ8aPVAR+XccoWIn/bXe+YY830MRO3CjeGdC0QPLXG1Mtm8f8BuIbCA2Ra0WK1X6+xhIAjVwvruQoFAE3GZKFZYtQmlj9UyiAhJmzwB0hpeWneDua+mpvG11eZCDepk4Nnrc1i+di5sl7BT08ZhYjHIGJ9gsNK0Ib/7yGhGU4iOIkhAXQeQdvgvZgG7pcWxxgq87v/CUciB00+hkb7cm/0IX2svsQ3cXIFmLIrWJ71QjArCiQxr6tUJa6aFR4zDIjZd9jfsYDlT9YR4BRk5/S7TbM8v/FYhmJ/J7eNatex4TPVfVSNepjKhojqJO7Ho+e4Ca2YDwe8eMWG+1nqn7EnfVugPLTwm6b4dugiGl4dOTy81Bj/vgfJonohR6AWv0wRiPChwDU0GcExA4YnRxzAvC9SgOAUzMlYGTjUlv+mUqzyYfdptx9mF2TaqPhg49O0vvItBAnfjztbnGhm7PB6SzDG/5MJkK4vxMP9OiUT5TIu7fq0nTmIKGIhbBCIP2C6AscFjnjCtWx9qyFEm30HXF6fmzYsuFn1OXcVDHbbhKSSbCyAaz9Cj6T/X+7hz4zWQihqqmmvugRwMLxl2PNtlSqreGoSpeVZUtysVi4vsUg50QnQVx+jzkjR3WnMkqu8wFUXzZuKgvcfETohOfxU2sOMcnzjU0zc6HsXo3f1mlhWOORk6TJc+Y9fwPu6whvRa4l9zOSNZDPra0gdN3mvyIyqyA7Rq01P5A/lWW48J+FXUKhfX3zTcQsIJ7oNKrA4JJ/hp3iC+gfTltOCwM79iquYZKnviIu3BmGb+5K+i7VGmKB/2odbvyKTrlw43UbBB63Xb4Ld+gqhEOZeh/DxrEecpBfwZEbz941b2vQkMQgaOBBxme4OLiYZ7O5+avqrX7dH7XoGOSGU+L+DUpsKQ2lGN5WmQA9HBogsS12daSBYLzKVLpPYcTc/YPlJxZ8LOy4vn4hsQgEDhKJrOH5c0QPEeFu433ercEQBDeavE/WAEmQkZOdyMYelgJbmvVRsx2DTcfri0TaYKo45xKG47DEs4XGxv95NZDIWmaNBdrzW3h2T9jK22Ea9F0xSl3EJSlJIkG4q8rSYzD0Ng+6SPHfjTqanTqDYMMPb9TBYIA6egRz4XwPBJUYa6Gqrq38Js0pJaCYjMwtBfq68v9kEVH9oSok60+0oQRXXF1urXV6fGIKvU91rigYWdviOuQYsPliooYiEb4mUcMR6U+IMWL7+zdG2LkCMAfjrCbNcNiTZ/UzdbM10DDLisdcGUy1GuNBf5W0o5jhx6ZEJEUt532Dyu+p+r9B64w8DHyZwD8eWnzfur1XhU6Efao4mRmd1eLLZcSTCkt2AV4eKLVc4wc2iIcclcPjrZunUabNfYFOJPZrgg2Xz10KbSg+G3fkGodeyQVP3thb4Ue8SZ1e2TxFb9WsmvJLVYcM+YfNpjQ3UDoL5FYY+U1EyEtpZo+9BRkHelhvKGFaqXGV4dVrHYwdO2ug9FwWwMfQl9q1AkalvhQ8JNw6EH4+NjpIFqdpsmQK5P28G985ntCepAVOT8WKwIchem0AYqwQ7eiLi9sRiHT+7dps14qOdxGED2Ij6oFAzC0MrWXpEJm8O/fX1xpUgMEc3ASAjKMKUxijvzt6nUPYP0XA+C6kjz8nxtJwuOEhqnflo7s5YBpa60dWRnruZv+6ABOe4MXjnglKYlt+RtDeW3Avj2UmsWOrhs34MiEPDEfMjUtuhdmwfKfphTzm+AGke5bCo/okh6DZik0bbwiodxDbt5Q93TInuCzq3H6wn+GXFDuS9ocKIzupD4srQrNhNvPLfQBcEVqtJocgW+02WMh3k+/UK+BUmBmL1UqbPgVurDCjfqgk9bLiDUvoZAJeuCk6lKv85shzyk5Yj73AqG9GH3GgN0XEJa2JBzo0u8XIOlrwZFbRx3Am48WfiR2eV2ywo9p8LUW/6al4CYh/l4liMqx/9y5V8Q99VCGDIqCNY8pjBYiMBb+eKLZxlmzvY7DTly2PquWBHX6EP0K0XEyru2T6dT6/Zwd91+NTaHR+LzbeyK1mXwAkimCjq/BzZQhwxjOVbG/IKli0K6QLHS7To2gVakNC+JUYAkM9YehVaEkGz8Ncf0s1HXK1AKIcQ1P1yBARF9/kw7UyPSbt8h2g/UEFWWDVlaw9xMv56Rku6JowxtkrPla5QEZvMke+nkRm5eQl0LyCPx9PdHyzoj8a6E9UuueB5EsI8pnVnLCZMdsYPCFDj+FS2cRpl6ln069DYhvjrogzfTXS30/z+tG/ZAtLJCOkKpz7zFiF+cEQImku6kS8gDUQfYkr8qq1IpYQJXrd1FucgDJxRSofdlcu1fvhWaJvRO9u2CmcranAABsKVgw8g2kjN4+3otgGjvUwFlCNiEoekZVW1EkwunVrNcNdqfjjDr6NRim3NrwPTQU3/Mc8G/ydrgP1XiL0uCrJ4oKfCE6pylCiT0nj5KJTqisgECk8SzXjU2p7hUKyk6zjtz8ahrubfpP6eTgnybX6VpvSP0xLZ9oqYZBIo4DLRDfXb7RfWZuiuf2KRPciqBDcxHTxhzLZKxseMDHtPrhvaKiTLQcmE91CV2Q5hmuOu6hRAzbSPGxl4bqwILUresQRTGqfGInTAo5ZvZ3qNBIcZADFqfbD0PCxj+IjXihkcfhKDj+fPBlbl3NKCjonMBbSNpTt5LcHNn6CBvwLmmIhILRnbRTW9C9Qc9U2+Ho3DUgGzPwqhIe0LsfOx+ZbsaRWPi3Ig3eluwRBVWvBm/U59Cug8BR9+3ZzUdyMYVF6cB5PqKEeue52WHrwp2PVYm4JwuhwG+9HbDbxSrhuCDFaIuLArOSH82l0iEO/8Fzy2KhNqEw99jC9txc9QEZ+QJP+VskBnvlqyhDgpoh+TpPoY4Giw70cheMx/nu6VHryeOth4DwU9hmOR1P4pLht/KujgoDianmb/jGVgLI0pq7SsiK4qeNljeCkMpbJiY7r0/+rdfuz9FlCP52mzGis0RxVYWc0lF8h4Jy0J96Dw0O+lXMyQ/lL1IO4mCCItE22UApS0PZV5R3m+QxnHQHNfRYQZybLS/QUeMbbWIpbk2QwNPE5HNF032dtGW/FnAgd1lmOjA9sVVHvKBt7LcSTj4M9bf2uGq7K7Nf/nJsXllo6MkXRjdWYgqzJ4Lga20zTZrr11ElzXupAMiaGlyUGqM1ZK/5N7I2SGzj5+rBYv/n02wVMRwkYPP5Wlnrks9lDkjm896qVducfBFGAEnOzhx3AOITtSMScZIs3GEJ9vdCBmM6V7LJabKAwD4cgNRRJK/g4k07xBe6eWCe3l/wl3SmaUfHErTVAHKDnkKqxSWvAUsQ23xmY/pPbAWDsnPnz/0XtrW9KErRuIPhLzcSm+uhIyFgeK1x6HYX3dy7bO9YKzkOXO3QtrEi5r51fHZw6f1zeyEb/lOUhQbNzNLOWl+AQnEQdFCttPmqZLuOIdXvX8R1w/lP+wFnhWR7dBlk0ZomCFbGyRgw+C5iFcEcMjTnyk6B7xNE6mmtHB9YWLhRzrzoIt0s6j0rQ5onjiYHe97xt4mTHhX2ehuPuOtIvKxCjUfzNjYmG96bHcdqvO3/dPJy+iAtR+BL88yNq/AJFZOPgKEyWaMLpUpP5FF9SLIhFTxgiUdBF9wa4kffHCPmLrQYJFnc6VKmLJCTDFHNBbjAbH390mQI1MZuuIJHVDrF2VdzfQOlbM1fp24XpK9ncVd+LFGiYsVwrObWZhZkQPmQ3wjkC+ngxwPEczutJ2MAbiPpelkwKuQlfe/J8SkXjST16rvizCBU/2drWyat5ISuJLq92kbtX4XDoUhEAWeJQCp2zweUBwnfMgvQrQVrQmrrhKVmQOrmbVv015dPHxjWMPJW5rcoGideGvTkrQuu4VBROib67Ff9iRmeXG1T14wY6/9B4QRAV5IB3VahKCVqJ/0wf6UTUKQKn2vMBclhI2dmJe7yv0mpZeVWMEJNlNacODxIepKOkStozsGtGmg2tw9FXicMZzo+a/FfeBheyplVu/+B44DEP7QbQLZ+GG13+UKu2aan3I6MBkWE4H6rJYiprB/Zq+kfSAnW4c4MXO6WL7rj98qz3vEEwQ4viVHa93IFqs3JrMSXUTrHzPoYJWQbLjd/e7zfGj8gwHkK6FbTFJIMd2ohZa+1taSl8LRCMyz6VIKCbsHFP/tu1XxJGgUrAf/8ng43tPuBT0GEy6dpINHugP5p/t8Ysd5XnUr6Hw5b7Q9/H6dIU2YHlRRx+F8vqb2NVZNBPOehtegMpgiBAShFZ5v9sDDC6D4uOqUe5kF8woqLHMpplLXKMh7LgACloWAPeTd/8gX4AwPlXvXjga5kvZ0gfwJgqCdAjWlAAfYomhyjGxMOn2Wd1qDPo4MpYTy716u6JMNez9AnHV4qjSh+pvfZBpX1GGlofSXNZuGG88MfJIK9Gk4GzygUUXizoWVs0PfiBFnZTZ+zD3tyxUGD0SVm64WI+T3Ftr/dJIT495tJeaiT4hlnfGHnrY+90quD8fZDZq+LQcJNTEZ/QkfJihG7lw98hrwnjkrPukUvdUVvuoaRKQ0Q2njmqR1RWsP9adAYP0Vn1MUaYkcpZ8oroWQD7QVjUZUqZGQz496lmU4p+mXCDCrs6puneUxqMhAecCBr/I+719dwdHyUf0Sc0Zv0j/YoPhUtAgMxnJv+xzcXCIKTn+z9YVVyFkJzVzh+rbXoRvrQ5F2Jgbf8lRGghpRra/e0O8zsXfvPdQhYw8jzdaVJMHUJvIFkibyvwiA0sJZwELvothUPQVdnTO4bmHYBfuK2beNKEY5PQ81sduT/RjzCRMzqsfDkpZyGD25utAzALPTwbkUVW8vCBXXETQTpE2qHX6x1/zA5IuuFGuR//g2VZm3Yqpy0ZUyoW2eoEhlcaPlMP2iA5YHHpO8qVu0bgR5hNJihvndHqRlik8T1317PdwRF5JWcrpr872VmFEN2NH1CgMXlC1zdtnswpECR6cDWTq/toh/I2eCiMOHAjsCuomxATl472tt9yFYQ4jzs6Z7o1xTL+O/veD7yx5DtKwL7d9E4t2XeaiwB5VtKFEB+Lr7HD841aDlUlhpvE52dFs1BCTsgbjhcVEKE1YNIssSGkONj/F+3pbUAepXjD/Y578FJQfnAYKVQ/DxtcMh668jpZWULYRdmtXJj8QUXwRa8hnUpfSXZOdndMW5hdEzirF2qG767a8HnSXHCc54ywGKxk5S56plvxBPcfD0zeVnHkfIIQGUTXUNchnSWmm8meEgjOEKj5Fn/rJgIrC1WJCLRpgzvNzXQoDYBDZiOyBOT0McZQywIfq/0WrajYg8DxcHTncJaDskwZjV0QCrhYCaz+0Np4K1JfbRGcZWz2wHZIEKz8foBXj1kjT4pvGpPw/Mi56YKa14VnKhTATZqxKgVmS9rk9Q8ybUdiMmzijQRR94KIGB2tinONHxt23jOVxHW8jMfVox6P9haUulHBCA+U5RCWqH71UO/4rL6zQq0srtceJ17XgrvJbxijLi1bUytLEmSafsPwHq+jscbTXh7+7+D7rpa5vrdQXYXgBvNZZwMaVo3ErXNF2AijV4fawjMfFXXZCbZgdQfVktsmqT2CfCOxRM3zgboqWJjXtz5bgZPjjqOTxVakEwmF7FSE8cbNSxHfsoA5cKqOd5zL7fUS3myx8dWTJZG2hQSmYnT8Wbz70wIvJ0LhnOfRFsF/i5eTleq0Xt3JY3nSDQ2xX1sb5Ee6NW1wS8mHgP3ST3ns1IiQLoPQfKtQLyzPjsvO2a4z/NzP1Yyf+vRHUl9MVgBnzNNDXiW0TVJHTQ4e1PBJ4MTDJoc6OZSuCFWo8MRajBaVim4DqhV8OSaui6PofbmsKAiWN4PRiz7DfiR96nZHHQ2Mp+oA62s5Ejel0WFICMUAA0TOjTMxdellLLq54MiErsQmPkf5VHK+J/WeRYxF/gd+kL/QIs+n8qNJnO/Dbtrd05ppuasO33F8srk8pR+9ieDChkYM+C7KJPKCANzkVfb2st1LyHIxtBKu7TJBcDGSdtknpZw1NL8mNPdWJsnviOjJK3MbKlQu77EwY+wCfNez8K8KfDWUr/QD181yRG+SsGfJTDGWy42DqCvLjSU8BrCmU+hnFMR6wunjS5mdPLhvBqoiMGgF42YxlXHrfby0cIqZ3LHMljTfjCpz9zqbhH1zhm7oyDVEc2cnv/Ujj8DGhsKi336jP9ydjb2Yd09ZfK50cBHrxQ72fdhXL0Hr0Q1rUyUWaCXlTPPzP33ZBHD6J+SDsceW/el7h4NHwUVPs1jDJqHOEGMDt2cOw7EeIgmMeQcJE3clqQKndjVDcv0rT6jVgaorGuZSaSDBGBPzmgPNj2LK9a16zSP0SGC2BJ7JwgpWLlOkKo1Zf5J+7Cf+m9FQuZXLwOlSu515uBVBDZFEywmMEoTAmAyq6UuWgicI2IAHcG+TuWrtVsWIs4nEUTCYTE7y0/lVSUIhfNy43mL0Yjha7QE62VKrs9UtnE22V6G9O+BWkt+6K63C2utBrhHlA2OhpzZcdKkg2rhD8iQgAzkM+n+3Tbhe51Kn4Rk4arWXasOZU3fG9u8v+Q2kG0EPEocDApTFha7F4PFimKpyeg8eK0kBjuNHMIS7QEAhhH5HJA8lnjGbc7wnFZF01B37ndUyDk9a0OrWIzD4DdyQaJ0zeC3kKvUuYWZqCo1VvUoQysLeDG3iOg8ctKglxUf0df0MedIzmt270gZHnxYe0xCgmpGmguevBioAyQBCYtjo21gNJEw9BWWgtTJyriy1CKHerMfOmoAlXt2oQjId1+Ck3hquzFaS0ce3nGBUQZGiZBjvFPQFpjR8M03WJfbz6hlGgmJM9BIym3ouUXGJNPOvqO0jPyIuQDt5dYYgOeYcrIAoZB6GbPsRwCB88pnjh4DSfy+ida/kiqZuR1ZpoKyOpIpFK0PLJzF/BuQ8pAu7esnZ+FVUyk1yt274TJZufLuXbGdVfXVr1Gxc7FyG7NiXkT8HpK80RONVqxvThtwpkF4fxGYuOv9AYmrO3mg30sMcZX9pW/YVvaOs2JdVrbUzCj00kJnXSF48aqr5bxELK1eUBgEX8EFL3NtmBOIfwMvgIqVgIqQG1gmLxJFeeGAwVPjOTtSesw5DHcWPIrFf1ARoclPd/jT80C2vh4rrs2w9OtslDvI31kVMN2YiOqAye6aJAB+yFoaHcv93p6WM+0OqX/i+4eEPlfjHjtsHApDq9CkLkBjbTb5WbXVO8er+MMFvOrXlIZZJLtt9NPeBP3DHXVQLkB3kKI9/9oCFbpbmiSff316Z30BMFvVyTmBaFYXooimaGjGrDGaA3DIX6MK5JJfFehdEyYLu9BkZSMbqDCMAMWJ8l290s4fdOoLcAhyqR0w9AeTHFg0/sGIg4/hb+hpPCwgOojH3CdxdhDFxIPg7HmLY07JssNcDiPRyJy1tBUDXvt2yq2R3Tzgezhq+iXLRSj+AIeH/Jd9+0e9GH1vRI19ok3Y2BzetfWaR78PKTy4+3eLngwdS0PjrojxVjxWL/tr3qkyI5+z8CKYVtDWSzQxrxPR8TWPkS8mhG/Ir/KDzB3tQlinjBiYhk3DlTrrGM1LC8lUAqvRDW4Jm8tKsOpls/IbVxrVsie4cW0tmCTeyhran8sUeYYikTpfUsq0Ug3eVw97v512lOfSrmlcgtB0v/abBe3JgSiJcOUHCtAlnOMfR7KxKYeIIabSBBQjVVJHmsIaPceDyMQgZsTMtbNLPT6zPHm+H+ykP898CVv4x/wKwaGz79k1zvzdGNvCvcRG9iQQwLS6OZwwinp/je8XzoEI+CwZZQUkckbY9clbuSC/d+kMwvP0Sv7UhRwP4Ik4nZULtj8I2c53ggULzNv7aXuohhm10UlyoG56j0chomyQfxu7U+fG/yvez2n7PH9sAEgddtUIWLplXD1G1T+ESLPoBio0gI7SHHJh2l8/Dv9FV0hoUrVEP80RSn2vt0E8+1+xrCfAdaggrlH6ChQHyhtI/cMmP/yqb0XF1ZUvaXoClF4Lbj4Qbjjoj7S6LrVVaUrsM5gC1L6W5uJ/sR4/OsjwB7YEXWhxr75HmuHidEeJZtcTNkoO5U2pEFk8O4WV6wZVe+7BGXa2QYygaaq+hF2r0q2C5X0LVjaeejsnlruvMaMNlJiKUYVbSrxlnS18WqUN+SMTKRdiT48QbQYw/CkOVGZMOYXCU5/2t78mPOpgLwE/efjIPyfoVhRq3FJ86hCG4caftD2ZPqE3p5nRGk1FUQJo1UE+lxkVxHUa//1vludvxEoTPrWq1TLZVuxEzMdE6tYeB/uZLNZDWtZd8NTN4wcfcGHpx1Q3zu+Cq9/D3nh/cNNyTYXJj0Msg3rP0p1pgilH2CV72OQEee0sJvs9RG1QGuvf5qGMMk0A/J8PM628R55AumrDkeBaZcb5FcDNuCBH4kpWVOhTR5LLAY55GOQIZFgEiF/PNsJW8Naj406eW5JRoBFRw4CbM3+OztYw0T+cfJruRc7ohpM1DN7FiG89VcCj35WAvQg9OOGaNfenSphijWPWj6bR/PhaoHO6aoIMCic65gQZRd2QRZHMKClN9xy1xZNO02/SvskSjcJwwG27UjF6JrR5AendZ7hm538LeijwBCXVm77G8z2naxSbgt+Psf/Y/6kQaNTWscRkFWxpALV7kVwP6MrMreV1Xx/mzjKC//W6iJaBu8L3YbxO1jAl+Wa/GnhhFwL9NIRMZ0unfrrTBKgVuNauFPbxhSAD/abCiiuCcdzTkKDmh1rxLcg8n2MT4jTA+ffy2E3wQULxFjjzER1pyKtNcruX/yVHshcmANe33cXQLTO7hzuNh2n1dirM1ShYzZJh7UGCR7ulPv6CdOm9c9H2KbbY9uG7r1k8CQnj3mPJv7W/9hjKG4mW805TlQcPajpasnWsCiXBvbtyG6lhnR3a/NPLnvqu9q+LmJzNSSuiyM8nbVhARE1lfbOvtdV6tBBKC/IQfsa7UyIZ9i5Q83IGdEzc8Ifpak1ceOzoGTXyrJHsHYtmJ3/tI2YrJp8d9BYv1HvlMekE7eJCgjmLqV9Obh2xpbMKGCP4YwdMDMhQ9c/iSZZLQeV6Ky9120/mR1Sa+mwTLCUyebcKtF5FD2FD0DVPTN6m0TrQuxnTozz1cwwtCcTbqhslGxT0JyTeL8oDiLWKNGpeg2wbuQphCIyuhhadFf6o0DT6oI+1hqD5vu/wmyRYKT0RmI3iy9h17K+hesabN1vzQs9WH"/>
  <p:tag name="MEKKOXMLTAGS" val="1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4</TotalTime>
  <Words>229</Words>
  <Application>Microsoft Office PowerPoint</Application>
  <PresentationFormat>Widescreen</PresentationFormat>
  <Paragraphs>25</Paragraphs>
  <Slides>5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Segoe UI</vt:lpstr>
      <vt:lpstr>Segoe UI Black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ernandes Junior</dc:creator>
  <cp:lastModifiedBy>Hernandes Junior</cp:lastModifiedBy>
  <cp:revision>2</cp:revision>
  <dcterms:created xsi:type="dcterms:W3CDTF">2022-04-14T12:28:07Z</dcterms:created>
  <dcterms:modified xsi:type="dcterms:W3CDTF">2022-04-17T15:22:23Z</dcterms:modified>
</cp:coreProperties>
</file>